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 Id="rId7"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52"/>
    <p:sldMasterId id="2147483798" r:id="rId53"/>
    <p:sldMasterId id="2147483818" r:id="rId54"/>
    <p:sldMasterId id="2147483842" r:id="rId55"/>
  </p:sldMasterIdLst>
  <p:notesMasterIdLst>
    <p:notesMasterId r:id="rId82"/>
  </p:notesMasterIdLst>
  <p:handoutMasterIdLst>
    <p:handoutMasterId r:id="rId83"/>
  </p:handoutMasterIdLst>
  <p:sldIdLst>
    <p:sldId id="258" r:id="rId56"/>
    <p:sldId id="265" r:id="rId57"/>
    <p:sldId id="2147483513" r:id="rId58"/>
    <p:sldId id="288" r:id="rId59"/>
    <p:sldId id="289" r:id="rId60"/>
    <p:sldId id="2147483512" r:id="rId61"/>
    <p:sldId id="301" r:id="rId62"/>
    <p:sldId id="2147483514" r:id="rId63"/>
    <p:sldId id="2147483511" r:id="rId64"/>
    <p:sldId id="2147483515" r:id="rId65"/>
    <p:sldId id="2147483516" r:id="rId66"/>
    <p:sldId id="2147483517" r:id="rId67"/>
    <p:sldId id="2147483518" r:id="rId68"/>
    <p:sldId id="2147483519" r:id="rId69"/>
    <p:sldId id="2147483520" r:id="rId70"/>
    <p:sldId id="2147483521" r:id="rId71"/>
  </p:sldIdLst>
  <p:sldSz cx="12195175" cy="6858000"/>
  <p:notesSz cx="6858000" cy="9144000"/>
  <p:embeddedFontLst>
    <p:embeddedFont>
      <p:font typeface="72" panose="020B0604020202020204" pitchFamily="34" charset="0"/>
      <p:regular r:id="rId84"/>
      <p:bold r:id="rId85"/>
      <p:italic r:id="rId86"/>
      <p:boldItalic r:id="rId87"/>
    </p:embeddedFont>
    <p:embeddedFont>
      <p:font typeface="72 Brand" panose="020B0504030603020204"/>
      <p:regular r:id="rId88"/>
      <p:bold r:id="rId89"/>
      <p:italic r:id="rId90"/>
      <p:boldItalic r:id="rId91"/>
    </p:embeddedFont>
    <p:embeddedFont>
      <p:font typeface="72 Brand Medium" panose="020B0604030603020204" pitchFamily="34" charset="0"/>
      <p:regular r:id="rId92"/>
      <p:bold r:id="rId93"/>
      <p:italic r:id="rId94"/>
      <p:boldItalic r:id="rId95"/>
    </p:embeddedFont>
    <p:embeddedFont>
      <p:font typeface="Arial Unicode MS" panose="020B0604020202020204" pitchFamily="34" charset="-128"/>
      <p:regular r:id="rId96"/>
      <p:bold r:id="rId97"/>
    </p:embeddedFont>
    <p:embeddedFont>
      <p:font typeface="Consolas" panose="020B0609020204030204" pitchFamily="49" charset="0"/>
      <p:regular r:id="rId98"/>
      <p:bold r:id="rId99"/>
      <p:italic r:id="rId100"/>
      <p:boldItalic r:id="rId101"/>
    </p:embeddedFont>
    <p:embeddedFont>
      <p:font typeface="Graphik Light" panose="020F0502020204030204" pitchFamily="34" charset="0"/>
      <p:regular r:id="rId102"/>
      <p:bold r:id="rId103"/>
      <p:italic r:id="rId104"/>
      <p:boldItalic r:id="rId105"/>
    </p:embeddedFont>
    <p:embeddedFont>
      <p:font typeface="Roboto" panose="02000000000000000000" pitchFamily="2" charset="0"/>
      <p:regular r:id="rId106"/>
      <p:bold r:id="rId107"/>
      <p:italic r:id="rId108"/>
      <p:boldItalic r:id="rId109"/>
    </p:embeddedFont>
    <p:embeddedFont>
      <p:font typeface="Segoe UI" panose="020B0502040204020203" pitchFamily="34" charset="0"/>
      <p:regular r:id="rId110"/>
      <p:bold r:id="rId111"/>
      <p:italic r:id="rId112"/>
      <p:boldItalic r:id="rId113"/>
    </p:embeddedFont>
  </p:embeddedFontLst>
  <p:custDataLst>
    <p:tags r:id="rId114"/>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F345AA-434C-4AE3-8047-A5FD22E5BA38}">
          <p14:sldIdLst>
            <p14:sldId id="258"/>
            <p14:sldId id="265"/>
            <p14:sldId id="2147483513"/>
            <p14:sldId id="288"/>
            <p14:sldId id="289"/>
            <p14:sldId id="2147483512"/>
            <p14:sldId id="301"/>
            <p14:sldId id="2147483514"/>
            <p14:sldId id="2147483511"/>
            <p14:sldId id="2147483515"/>
            <p14:sldId id="2147483516"/>
            <p14:sldId id="2147483517"/>
            <p14:sldId id="2147483518"/>
            <p14:sldId id="2147483519"/>
            <p14:sldId id="2147483520"/>
            <p14:sldId id="2147483521"/>
            <p14:sldId id="2147483522"/>
            <p14:sldId id="2147483523"/>
            <p14:sldId id="2147483524"/>
            <p14:sldId id="2147483525"/>
            <p14:sldId id="2147483526"/>
            <p14:sldId id="2147483527"/>
            <p14:sldId id="2147483528"/>
            <p14:sldId id="2147483529"/>
            <p14:sldId id="2147483530"/>
            <p14:sldId id="2147483531"/>
          </p14:sldIdLst>
        </p14:section>
      </p14:sectionLst>
    </p:ext>
    <p:ext uri="{EFAFB233-063F-42B5-8137-9DF3F51BA10A}">
      <p15:sldGuideLst xmlns:p15="http://schemas.microsoft.com/office/powerpoint/2012/main">
        <p15:guide id="1" pos="3841" userDrawn="1">
          <p15:clr>
            <a:srgbClr val="A4A3A4"/>
          </p15:clr>
        </p15:guide>
        <p15:guide id="2" orient="horz" pos="2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1AFF31-7A2F-128D-BB47-3B1D50ABF410}" name="Sitzenstuhl, Julia" initials="JS" userId="S::julia.sitzenstuhl@accenture.com::0ecde564-4e43-4376-b71c-fef783b14573" providerId="AD"/>
  <p188:author id="{5129F76E-7BDB-74C5-467E-3477AD327EEC}" name="Tristan Reeve" initials="TR" userId="Tristan Reeve" providerId="None"/>
  <p188:author id="{AE91D871-059B-A3C9-649E-875E3021D821}" name="Singh, Nitin" initials="" userId="S::nitin.singh03@sap.com::0349d0f7-6846-400e-bf8b-4d688b33f556" providerId="AD"/>
  <p188:author id="{F75ED88A-D47F-6662-7E9F-83F362C31C7E}" name="Stemmer, Kaya (external - Service)" initials="KS" userId="S::kaya.stemmer@sap.com::42d2abaa-3f73-4c7f-9aed-99212a3b2447" providerId="AD"/>
  <p188:author id="{63FB9B93-95B2-1559-FD61-A17AECA3AC20}" name="Dröge, Anne" initials="AD" userId="S::anne.droege@accenture.com::10d2f445-2dce-4ab5-938d-f3130b03f78f" providerId="AD"/>
  <p188:author id="{1847869B-63D9-03E2-EB9D-4C67847F1236}" name="Dröge, Anne" initials="DA" userId="S::anne.droege_accenture.com#ext#@sap.onmicrosoft.com::98071eed-5974-4a76-bb70-2f4eeda0f006" providerId="AD"/>
  <p188:author id="{CFAF52E9-D22A-3098-E097-21FB102B2FB9}" name="Rudolf, Andreas (external - Service)" initials="RS" userId="S::andreas.rudolf@sap.com::7280057f-938f-4110-99cf-aba5feaa2276"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933"/>
    <a:srgbClr val="D1F5C9"/>
    <a:srgbClr val="36A41D"/>
    <a:srgbClr val="D1EFFF"/>
    <a:srgbClr val="C35515"/>
    <a:srgbClr val="F3FBFF"/>
    <a:srgbClr val="2D5F7F"/>
    <a:srgbClr val="33692E"/>
    <a:srgbClr val="89D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F2E98E-9D9D-0C68-DCC6-CADA5B18470D}" v="283" dt="2025-12-12T09:22:49.869"/>
    <p1510:client id="{C58890AD-8BD4-2066-FC94-90F61A4F6B87}" v="1" dt="2025-12-12T09:23:43.816"/>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07"/>
    <p:restoredTop sz="86438"/>
  </p:normalViewPr>
  <p:slideViewPr>
    <p:cSldViewPr snapToGrid="0">
      <p:cViewPr varScale="1">
        <p:scale>
          <a:sx n="109" d="100"/>
          <a:sy n="109" d="100"/>
        </p:scale>
        <p:origin x="680" y="184"/>
      </p:cViewPr>
      <p:guideLst>
        <p:guide pos="3841"/>
        <p:guide orient="horz" pos="2352"/>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760" y="21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slideMaster" Target="slideMasters/slideMaster1.xml"/><Relationship Id="rId53" Type="http://schemas.openxmlformats.org/officeDocument/2006/relationships/slideMaster" Target="slideMasters/slideMaster2.xml"/><Relationship Id="rId54" Type="http://schemas.openxmlformats.org/officeDocument/2006/relationships/slideMaster" Target="slideMasters/slideMaster3.xml"/><Relationship Id="rId55" Type="http://schemas.openxmlformats.org/officeDocument/2006/relationships/slideMaster" Target="slideMasters/slideMaster4.xml"/><Relationship Id="rId56" Type="http://schemas.openxmlformats.org/officeDocument/2006/relationships/slide" Target="slides/slide1.xml"/><Relationship Id="rId57" Type="http://schemas.openxmlformats.org/officeDocument/2006/relationships/slide" Target="slides/slide2.xml"/><Relationship Id="rId58" Type="http://schemas.openxmlformats.org/officeDocument/2006/relationships/slide" Target="slides/slide3.xml"/><Relationship Id="rId59" Type="http://schemas.openxmlformats.org/officeDocument/2006/relationships/slide" Target="slides/slide4.xml"/><Relationship Id="rId60" Type="http://schemas.openxmlformats.org/officeDocument/2006/relationships/slide" Target="slides/slide5.xml"/><Relationship Id="rId61" Type="http://schemas.openxmlformats.org/officeDocument/2006/relationships/slide" Target="slides/slide6.xml"/><Relationship Id="rId62" Type="http://schemas.openxmlformats.org/officeDocument/2006/relationships/slide" Target="slides/slide7.xml"/><Relationship Id="rId63" Type="http://schemas.openxmlformats.org/officeDocument/2006/relationships/slide" Target="slides/slide8.xml"/><Relationship Id="rId64" Type="http://schemas.openxmlformats.org/officeDocument/2006/relationships/slide" Target="slides/slide9.xml"/><Relationship Id="rId65" Type="http://schemas.openxmlformats.org/officeDocument/2006/relationships/slide" Target="slides/slide10.xml"/><Relationship Id="rId66" Type="http://schemas.openxmlformats.org/officeDocument/2006/relationships/slide" Target="slides/slide11.xml"/><Relationship Id="rId67" Type="http://schemas.openxmlformats.org/officeDocument/2006/relationships/slide" Target="slides/slide12.xml"/><Relationship Id="rId68" Type="http://schemas.openxmlformats.org/officeDocument/2006/relationships/slide" Target="slides/slide13.xml"/><Relationship Id="rId69" Type="http://schemas.openxmlformats.org/officeDocument/2006/relationships/slide" Target="slides/slide14.xml"/><Relationship Id="rId70" Type="http://schemas.openxmlformats.org/officeDocument/2006/relationships/slide" Target="slides/slide15.xml"/><Relationship Id="rId71" Type="http://schemas.openxmlformats.org/officeDocument/2006/relationships/slide" Target="slides/slide16.xml"/><Relationship Id="rId72" Type="http://schemas.openxmlformats.org/officeDocument/2006/relationships/slide" Target="slides/slide17.xml"/><Relationship Id="rId73" Type="http://schemas.openxmlformats.org/officeDocument/2006/relationships/slide" Target="slides/slide18.xml"/><Relationship Id="rId74" Type="http://schemas.openxmlformats.org/officeDocument/2006/relationships/slide" Target="slides/slide19.xml"/><Relationship Id="rId75" Type="http://schemas.openxmlformats.org/officeDocument/2006/relationships/slide" Target="slides/slide20.xml"/><Relationship Id="rId76" Type="http://schemas.openxmlformats.org/officeDocument/2006/relationships/slide" Target="slides/slide21.xml"/><Relationship Id="rId77" Type="http://schemas.openxmlformats.org/officeDocument/2006/relationships/slide" Target="slides/slide22.xml"/><Relationship Id="rId78" Type="http://schemas.openxmlformats.org/officeDocument/2006/relationships/slide" Target="slides/slide23.xml"/><Relationship Id="rId79" Type="http://schemas.openxmlformats.org/officeDocument/2006/relationships/slide" Target="slides/slide24.xml"/><Relationship Id="rId80" Type="http://schemas.openxmlformats.org/officeDocument/2006/relationships/slide" Target="slides/slide25.xml"/><Relationship Id="rId81" Type="http://schemas.openxmlformats.org/officeDocument/2006/relationships/slide" Target="slides/slide26.xml"/><Relationship Id="rId82" Type="http://schemas.openxmlformats.org/officeDocument/2006/relationships/notesMaster" Target="notesMasters/notesMaster1.xml"/><Relationship Id="rId83" Type="http://schemas.openxmlformats.org/officeDocument/2006/relationships/handoutMaster" Target="handoutMasters/handoutMaster1.xml"/><Relationship Id="rId84" Type="http://schemas.openxmlformats.org/officeDocument/2006/relationships/font" Target="fonts/font1.fntdata"/><Relationship Id="rId85" Type="http://schemas.openxmlformats.org/officeDocument/2006/relationships/font" Target="fonts/font2.fntdata"/><Relationship Id="rId86" Type="http://schemas.openxmlformats.org/officeDocument/2006/relationships/font" Target="fonts/font3.fntdata"/><Relationship Id="rId87" Type="http://schemas.openxmlformats.org/officeDocument/2006/relationships/font" Target="fonts/font4.fntdata"/><Relationship Id="rId88" Type="http://schemas.openxmlformats.org/officeDocument/2006/relationships/font" Target="fonts/font5.fntdata"/><Relationship Id="rId89" Type="http://schemas.openxmlformats.org/officeDocument/2006/relationships/font" Target="fonts/font6.fntdata"/><Relationship Id="rId90" Type="http://schemas.openxmlformats.org/officeDocument/2006/relationships/font" Target="fonts/font7.fntdata"/><Relationship Id="rId91" Type="http://schemas.openxmlformats.org/officeDocument/2006/relationships/font" Target="fonts/font8.fntdata"/><Relationship Id="rId92" Type="http://schemas.openxmlformats.org/officeDocument/2006/relationships/font" Target="fonts/font9.fntdata"/><Relationship Id="rId93" Type="http://schemas.openxmlformats.org/officeDocument/2006/relationships/font" Target="fonts/font10.fntdata"/><Relationship Id="rId94" Type="http://schemas.openxmlformats.org/officeDocument/2006/relationships/font" Target="fonts/font11.fntdata"/><Relationship Id="rId95" Type="http://schemas.openxmlformats.org/officeDocument/2006/relationships/font" Target="fonts/font12.fntdata"/><Relationship Id="rId96" Type="http://schemas.openxmlformats.org/officeDocument/2006/relationships/font" Target="fonts/font13.fntdata"/><Relationship Id="rId97" Type="http://schemas.openxmlformats.org/officeDocument/2006/relationships/font" Target="fonts/font14.fntdata"/><Relationship Id="rId98" Type="http://schemas.openxmlformats.org/officeDocument/2006/relationships/font" Target="fonts/font15.fntdata"/><Relationship Id="rId99" Type="http://schemas.openxmlformats.org/officeDocument/2006/relationships/font" Target="fonts/font16.fntdata"/><Relationship Id="rId100" Type="http://schemas.openxmlformats.org/officeDocument/2006/relationships/font" Target="fonts/font17.fntdata"/><Relationship Id="rId101" Type="http://schemas.openxmlformats.org/officeDocument/2006/relationships/font" Target="fonts/font18.fntdata"/><Relationship Id="rId102" Type="http://schemas.openxmlformats.org/officeDocument/2006/relationships/font" Target="fonts/font19.fntdata"/><Relationship Id="rId103" Type="http://schemas.openxmlformats.org/officeDocument/2006/relationships/font" Target="fonts/font20.fntdata"/><Relationship Id="rId104" Type="http://schemas.openxmlformats.org/officeDocument/2006/relationships/font" Target="fonts/font21.fntdata"/><Relationship Id="rId105" Type="http://schemas.openxmlformats.org/officeDocument/2006/relationships/font" Target="fonts/font22.fntdata"/><Relationship Id="rId106" Type="http://schemas.openxmlformats.org/officeDocument/2006/relationships/font" Target="fonts/font23.fntdata"/><Relationship Id="rId107" Type="http://schemas.openxmlformats.org/officeDocument/2006/relationships/font" Target="fonts/font24.fntdata"/><Relationship Id="rId108" Type="http://schemas.openxmlformats.org/officeDocument/2006/relationships/font" Target="fonts/font25.fntdata"/><Relationship Id="rId109" Type="http://schemas.openxmlformats.org/officeDocument/2006/relationships/font" Target="fonts/font26.fntdata"/><Relationship Id="rId110" Type="http://schemas.openxmlformats.org/officeDocument/2006/relationships/font" Target="fonts/font27.fntdata"/><Relationship Id="rId111" Type="http://schemas.openxmlformats.org/officeDocument/2006/relationships/font" Target="fonts/font28.fntdata"/><Relationship Id="rId112" Type="http://schemas.openxmlformats.org/officeDocument/2006/relationships/font" Target="fonts/font29.fntdata"/><Relationship Id="rId113" Type="http://schemas.openxmlformats.org/officeDocument/2006/relationships/font" Target="fonts/font30.fntdata"/><Relationship Id="rId114" Type="http://schemas.openxmlformats.org/officeDocument/2006/relationships/tags" Target="tags/tag1.xml"/><Relationship Id="rId115" Type="http://schemas.openxmlformats.org/officeDocument/2006/relationships/presProps" Target="presProps.xml"/><Relationship Id="rId116" Type="http://schemas.openxmlformats.org/officeDocument/2006/relationships/viewProps" Target="viewProps.xml"/><Relationship Id="rId117" Type="http://schemas.openxmlformats.org/officeDocument/2006/relationships/theme" Target="theme/theme1.xml"/><Relationship Id="rId118" Type="http://schemas.openxmlformats.org/officeDocument/2006/relationships/tableStyles" Target="tableStyles.xml"/><Relationship Id="rId119" Type="http://schemas.microsoft.com/office/2016/11/relationships/changesInfo" Target="changesInfos/changesInfo1.xml"/><Relationship Id="rId120" Type="http://schemas.microsoft.com/office/2015/10/relationships/revisionInfo" Target="revisionInfo.xml"/><Relationship Id="rId12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nepf, Patrick" userId="S::uas0041282@stud.fra-uas.de::4b9cf388-e12e-4e6b-aab3-22cbc2e97e61" providerId="AD" clId="Web-{73F2E98E-9D9D-0C68-DCC6-CADA5B18470D}"/>
    <pc:docChg chg="modSld">
      <pc:chgData name="Schnepf, Patrick" userId="S::uas0041282@stud.fra-uas.de::4b9cf388-e12e-4e6b-aab3-22cbc2e97e61" providerId="AD" clId="Web-{73F2E98E-9D9D-0C68-DCC6-CADA5B18470D}" dt="2025-12-12T09:22:45.839" v="155"/>
      <pc:docMkLst>
        <pc:docMk/>
      </pc:docMkLst>
      <pc:sldChg chg="modSp">
        <pc:chgData name="Schnepf, Patrick" userId="S::uas0041282@stud.fra-uas.de::4b9cf388-e12e-4e6b-aab3-22cbc2e97e61" providerId="AD" clId="Web-{73F2E98E-9D9D-0C68-DCC6-CADA5B18470D}" dt="2025-12-12T09:18:50.039" v="96"/>
        <pc:sldMkLst>
          <pc:docMk/>
          <pc:sldMk cId="79692663" sldId="267"/>
        </pc:sldMkLst>
        <pc:graphicFrameChg chg="mod modGraphic">
          <ac:chgData name="Schnepf, Patrick" userId="S::uas0041282@stud.fra-uas.de::4b9cf388-e12e-4e6b-aab3-22cbc2e97e61" providerId="AD" clId="Web-{73F2E98E-9D9D-0C68-DCC6-CADA5B18470D}" dt="2025-12-12T09:18:29.303" v="77"/>
          <ac:graphicFrameMkLst>
            <pc:docMk/>
            <pc:sldMk cId="79692663" sldId="267"/>
            <ac:graphicFrameMk id="11" creationId="{C21E78F7-CB56-DA3A-6FF1-0C1A882A28C8}"/>
          </ac:graphicFrameMkLst>
        </pc:graphicFrameChg>
        <pc:graphicFrameChg chg="mod modGraphic">
          <ac:chgData name="Schnepf, Patrick" userId="S::uas0041282@stud.fra-uas.de::4b9cf388-e12e-4e6b-aab3-22cbc2e97e61" providerId="AD" clId="Web-{73F2E98E-9D9D-0C68-DCC6-CADA5B18470D}" dt="2025-12-12T09:18:50.039" v="96"/>
          <ac:graphicFrameMkLst>
            <pc:docMk/>
            <pc:sldMk cId="79692663" sldId="267"/>
            <ac:graphicFrameMk id="15" creationId="{303EF505-49D3-B2EC-0731-684336D010A9}"/>
          </ac:graphicFrameMkLst>
        </pc:graphicFrameChg>
      </pc:sldChg>
      <pc:sldChg chg="addSp delSp modSp">
        <pc:chgData name="Schnepf, Patrick" userId="S::uas0041282@stud.fra-uas.de::4b9cf388-e12e-4e6b-aab3-22cbc2e97e61" providerId="AD" clId="Web-{73F2E98E-9D9D-0C68-DCC6-CADA5B18470D}" dt="2025-12-12T09:22:45.839" v="155"/>
        <pc:sldMkLst>
          <pc:docMk/>
          <pc:sldMk cId="1183526076" sldId="288"/>
        </pc:sldMkLst>
        <pc:spChg chg="add del">
          <ac:chgData name="Schnepf, Patrick" userId="S::uas0041282@stud.fra-uas.de::4b9cf388-e12e-4e6b-aab3-22cbc2e97e61" providerId="AD" clId="Web-{73F2E98E-9D9D-0C68-DCC6-CADA5B18470D}" dt="2025-12-12T09:22:12.274" v="139"/>
          <ac:spMkLst>
            <pc:docMk/>
            <pc:sldMk cId="1183526076" sldId="288"/>
            <ac:spMk id="7" creationId="{0F8FBE19-E2F8-09FB-819B-9E7400A8464C}"/>
          </ac:spMkLst>
        </pc:spChg>
        <pc:spChg chg="add del">
          <ac:chgData name="Schnepf, Patrick" userId="S::uas0041282@stud.fra-uas.de::4b9cf388-e12e-4e6b-aab3-22cbc2e97e61" providerId="AD" clId="Web-{73F2E98E-9D9D-0C68-DCC6-CADA5B18470D}" dt="2025-12-12T09:16:56.743" v="17"/>
          <ac:spMkLst>
            <pc:docMk/>
            <pc:sldMk cId="1183526076" sldId="288"/>
            <ac:spMk id="20" creationId="{434228BD-A578-7916-12F4-503F1EEAB3B4}"/>
          </ac:spMkLst>
        </pc:spChg>
        <pc:graphicFrameChg chg="mod modGraphic">
          <ac:chgData name="Schnepf, Patrick" userId="S::uas0041282@stud.fra-uas.de::4b9cf388-e12e-4e6b-aab3-22cbc2e97e61" providerId="AD" clId="Web-{73F2E98E-9D9D-0C68-DCC6-CADA5B18470D}" dt="2025-12-12T09:22:45.839" v="155"/>
          <ac:graphicFrameMkLst>
            <pc:docMk/>
            <pc:sldMk cId="1183526076" sldId="288"/>
            <ac:graphicFrameMk id="386" creationId="{6D2E4698-2E15-95BD-E158-3854D2D8A6C3}"/>
          </ac:graphicFrameMkLst>
        </pc:graphicFrameChg>
      </pc:sldChg>
    </pc:docChg>
  </pc:docChgLst>
  <pc:docChgLst>
    <pc:chgData name="Schnepf, Patrick" userId="S::uas0041282@stud.fra-uas.de::4b9cf388-e12e-4e6b-aab3-22cbc2e97e61" providerId="AD" clId="Web-{C58890AD-8BD4-2066-FC94-90F61A4F6B87}"/>
    <pc:docChg chg="modSld">
      <pc:chgData name="Schnepf, Patrick" userId="S::uas0041282@stud.fra-uas.de::4b9cf388-e12e-4e6b-aab3-22cbc2e97e61" providerId="AD" clId="Web-{C58890AD-8BD4-2066-FC94-90F61A4F6B87}" dt="2025-12-12T09:23:43.816" v="0"/>
      <pc:docMkLst>
        <pc:docMk/>
      </pc:docMkLst>
      <pc:sldChg chg="modSp">
        <pc:chgData name="Schnepf, Patrick" userId="S::uas0041282@stud.fra-uas.de::4b9cf388-e12e-4e6b-aab3-22cbc2e97e61" providerId="AD" clId="Web-{C58890AD-8BD4-2066-FC94-90F61A4F6B87}" dt="2025-12-12T09:23:43.816" v="0"/>
        <pc:sldMkLst>
          <pc:docMk/>
          <pc:sldMk cId="1183526076" sldId="288"/>
        </pc:sldMkLst>
        <pc:graphicFrameChg chg="modGraphic">
          <ac:chgData name="Schnepf, Patrick" userId="S::uas0041282@stud.fra-uas.de::4b9cf388-e12e-4e6b-aab3-22cbc2e97e61" providerId="AD" clId="Web-{C58890AD-8BD4-2066-FC94-90F61A4F6B87}" dt="2025-12-12T09:23:43.816" v="0"/>
          <ac:graphicFrameMkLst>
            <pc:docMk/>
            <pc:sldMk cId="1183526076" sldId="288"/>
            <ac:graphicFrameMk id="386" creationId="{6D2E4698-2E15-95BD-E158-3854D2D8A6C3}"/>
          </ac:graphicFrameMkLst>
        </pc:graphicFrameChg>
      </pc:sldChg>
    </pc:docChg>
  </pc:docChgLst>
  <pc:docChgLst>
    <pc:chgData name="El Azraq, Fatima-Zahra" userId="S::uas0009494@stud.fra-uas.de::e302decc-cfff-481d-a1d6-5c7ccee864a8" providerId="AD" clId="Web-{7DB97991-F68B-E778-7249-BC97DEF97B30}"/>
    <pc:docChg chg="modSld">
      <pc:chgData name="El Azraq, Fatima-Zahra" userId="S::uas0009494@stud.fra-uas.de::e302decc-cfff-481d-a1d6-5c7ccee864a8" providerId="AD" clId="Web-{7DB97991-F68B-E778-7249-BC97DEF97B30}" dt="2025-12-05T12:16:15.755" v="3" actId="1076"/>
      <pc:docMkLst>
        <pc:docMk/>
      </pc:docMkLst>
      <pc:sldChg chg="modSp">
        <pc:chgData name="El Azraq, Fatima-Zahra" userId="S::uas0009494@stud.fra-uas.de::e302decc-cfff-481d-a1d6-5c7ccee864a8" providerId="AD" clId="Web-{7DB97991-F68B-E778-7249-BC97DEF97B30}" dt="2025-12-05T12:16:15.755" v="3" actId="1076"/>
        <pc:sldMkLst>
          <pc:docMk/>
          <pc:sldMk cId="3390793184" sldId="2147483432"/>
        </pc:sldMkLst>
        <pc:spChg chg="mod">
          <ac:chgData name="El Azraq, Fatima-Zahra" userId="S::uas0009494@stud.fra-uas.de::e302decc-cfff-481d-a1d6-5c7ccee864a8" providerId="AD" clId="Web-{7DB97991-F68B-E778-7249-BC97DEF97B30}" dt="2025-12-05T12:16:14.786" v="2" actId="1076"/>
          <ac:spMkLst>
            <pc:docMk/>
            <pc:sldMk cId="3390793184" sldId="2147483432"/>
            <ac:spMk id="13" creationId="{F66307A8-CBF1-440C-B5F4-9274698CE55C}"/>
          </ac:spMkLst>
        </pc:spChg>
        <pc:spChg chg="mod">
          <ac:chgData name="El Azraq, Fatima-Zahra" userId="S::uas0009494@stud.fra-uas.de::e302decc-cfff-481d-a1d6-5c7ccee864a8" providerId="AD" clId="Web-{7DB97991-F68B-E778-7249-BC97DEF97B30}" dt="2025-12-05T12:16:15.755" v="3" actId="1076"/>
          <ac:spMkLst>
            <pc:docMk/>
            <pc:sldMk cId="3390793184" sldId="2147483432"/>
            <ac:spMk id="17" creationId="{7D112845-C5E9-4904-ACA1-E3CE47096904}"/>
          </ac:spMkLst>
        </pc:spChg>
      </pc:sldChg>
    </pc:docChg>
  </pc:docChgLst>
  <pc:docChgLst>
    <pc:chgData name="El Azraq, Fatima-Zahra" userId="S::uas0009494@stud.fra-uas.de::e302decc-cfff-481d-a1d6-5c7ccee864a8" providerId="AD" clId="Web-{0A87251A-C2ED-A651-FA47-E418E23C6621}"/>
    <pc:docChg chg="modSld">
      <pc:chgData name="El Azraq, Fatima-Zahra" userId="S::uas0009494@stud.fra-uas.de::e302decc-cfff-481d-a1d6-5c7ccee864a8" providerId="AD" clId="Web-{0A87251A-C2ED-A651-FA47-E418E23C6621}" dt="2025-12-08T09:55:25.956" v="0" actId="1076"/>
      <pc:docMkLst>
        <pc:docMk/>
      </pc:docMkLst>
      <pc:sldChg chg="modSp">
        <pc:chgData name="El Azraq, Fatima-Zahra" userId="S::uas0009494@stud.fra-uas.de::e302decc-cfff-481d-a1d6-5c7ccee864a8" providerId="AD" clId="Web-{0A87251A-C2ED-A651-FA47-E418E23C6621}" dt="2025-12-08T09:55:25.956" v="0" actId="1076"/>
        <pc:sldMkLst>
          <pc:docMk/>
          <pc:sldMk cId="2588132921" sldId="270"/>
        </pc:sldMkLst>
        <pc:spChg chg="mod">
          <ac:chgData name="El Azraq, Fatima-Zahra" userId="S::uas0009494@stud.fra-uas.de::e302decc-cfff-481d-a1d6-5c7ccee864a8" providerId="AD" clId="Web-{0A87251A-C2ED-A651-FA47-E418E23C6621}" dt="2025-12-08T09:55:25.956" v="0" actId="1076"/>
          <ac:spMkLst>
            <pc:docMk/>
            <pc:sldMk cId="2588132921" sldId="270"/>
            <ac:spMk id="5" creationId="{E498DA22-1638-53F4-B737-9A6C3F509565}"/>
          </ac:spMkLst>
        </pc:sp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Nr.›</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Nr.›</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AE084-E490-F8C3-B9D7-693DC9FB2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491D74-9460-114E-7389-FE88C0B850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40B775-0A9F-87A1-55E0-DA102230D15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E349C309-C4E4-9CD6-27F0-0F1A3872B0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858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90434-572D-36A3-077B-1AA60BF17F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DCB96-264E-141C-6A32-10B68E8CE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9B2674-7A4F-3EB2-AF57-A563CF8B4B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B51CBFC-0F41-8230-F2FD-D53015214F4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9990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98C4C-BE08-177B-EDB0-B9C5F89DC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47948-94D4-5BFF-1137-F5E158695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22132-EDE8-7B70-55C7-186200562BB7}"/>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649BA013-7D9F-5AE6-BAFD-9E8FB1BF8BC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9905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82141-87D1-096A-D53C-8EF2CA09C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797F4-FCE1-4468-1666-42B337B307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C49E70-5886-E916-9DF9-6858B5215829}"/>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FF346260-68D2-B943-2851-0363F11DC19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9640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0FC13-AC11-D075-DC6A-982E4F76C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7F9EB-4788-8365-F014-DE07711EB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368F7-637C-D906-1B82-923DCF832DF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9E3ECA4-903E-36D2-7038-E8BDCF831AE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66197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2B27-0817-167C-D402-D59350A7E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F045F-2304-5AAF-6C34-754D827CE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11703-5184-13F4-9CCC-32AE18D7BB9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F6AA5A0-2553-6B34-250A-495C4871C37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9147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D78BD-75DE-CA03-F421-DA91460F76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79430-19FE-D4F4-BD89-17D552295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B55C4F-8A67-85B0-FA1F-675281AB229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190608C8-18C0-23D3-47C1-8A3D0CBE12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44386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188F-3193-745E-3BD2-E290697A3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845B08-DDD3-1995-35AE-C0CF3FE0D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59189-923C-DF2E-8B0A-2831C0280EA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4543045-17E5-EC63-5F36-F1E4CEA6985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9971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31152-8B8C-D5CC-C1E5-507FF5FBEA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B014AA-A38E-D9B0-EF48-3C84DE1662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4265D-90D6-14CF-1F06-DBD46A2B92C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49DB31D-0E04-EF3F-ADE4-228AB68367B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62936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2D0B-F5CD-3637-D3AF-8418A11D5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EAA5F-3731-E447-117F-6C4567DB5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35842-23C3-1270-61FC-359D3F2EC48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3543C8E-2A5F-DEAA-EBEF-0B35152D3FD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092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17CE-838A-74D3-3A64-ED6479116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61124-3C1A-740C-C441-6331A181A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69C41-C86B-4964-E68C-B6E68730E81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4EE4965-8B4A-3930-1389-6E88E032F14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45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F838-4D31-93FE-C3A6-C984A2DFC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FFCAF-6E79-D7AF-3490-6FDEA96392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349D4-E038-BB32-6587-93334D65666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C0E99B4-DA30-94FE-70B1-F2130C1E0E5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5668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C1CD-66EA-68F7-9E12-418FB07A8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50A610-7F99-92A3-0EDD-323BCB6A9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0F751-A091-F294-E6CB-79CFAE6D225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4EAD179-F7FA-5682-A918-13DD56E7E9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11033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033D7-AA4A-C22C-ACB3-2744B76BA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5B76B-3AD7-B9ED-C235-A20C63F62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424F8C-768B-2804-B6B3-9147E6C2FD61}"/>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9BDB30DB-7E44-902E-BC20-053C6E6A9709}"/>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1322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6C903-6042-ED0B-089D-0DD868112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E108B3-BAE7-EB02-2B6D-1F2E6712D3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5DCA7-C6BA-F082-E64D-C9B35907CFD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C062804-3346-6529-E9BC-BF1EB19E8B8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4543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2D1D0-34E6-3ED3-B609-929F4DD4F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8B154-3BB2-A515-A145-097728710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F94534-1120-B714-CF14-3107F4919DC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0F72686-47A4-02C8-CE5E-9691E4F05A0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19533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A893C-5364-6103-BFBD-010CA40A42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894995-E54E-2560-D977-4DE2354B53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008FD-1A02-F32D-3162-39EDE6AE47B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322BDB5-A770-2C9A-218E-4AEECABB7DC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5962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9C60B-2C6C-8AC9-A7EA-03EB7586B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22710-D3B5-62D8-64BE-3056DF60E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47388D-FCD9-C2CE-FF38-C854D6712EF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FB25A84-CC8E-C84D-ECD2-28A6834C5C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8095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82B11-283E-6184-1F24-06E08D764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2B7DC-419F-E3D1-680D-003510237C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05458-41F5-309F-07C3-9EFA8A0AB91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B0743047-6922-1CFE-67E0-467881C773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04437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FFAD-34E7-1FB4-151A-9FA39B4F2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987FF-D77C-D3D9-03D7-42082A359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75116-18E7-99E0-3E09-A974CFD7AC3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E020E8D-A019-05C0-90D7-7547A5F0159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3687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7</a:t>
            </a:fld>
            <a:endParaRPr lang="en-DE"/>
          </a:p>
        </p:txBody>
      </p:sp>
    </p:spTree>
    <p:extLst>
      <p:ext uri="{BB962C8B-B14F-4D97-AF65-F5344CB8AC3E}">
        <p14:creationId xmlns:p14="http://schemas.microsoft.com/office/powerpoint/2010/main" val="2926964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3434877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Master" Target="../slideMasters/slideMaster4.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Master" Target="../slideMasters/slideMaster4.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0014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58"/>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701723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rgbClr val="D1EFFF"/>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vert="horz" anchor="b" anchorCtr="0">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8133" y="2085631"/>
            <a:ext cx="8659529"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8132" y="2616963"/>
            <a:ext cx="8659528"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6395" y="3148295"/>
            <a:ext cx="8191268"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6394" y="3679627"/>
            <a:ext cx="8191267"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E400D9E-F8C6-0BA2-F4F4-397DAB7EC3E3}"/>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26804758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5096" y="4096092"/>
            <a:ext cx="10082625"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5096" y="4096092"/>
            <a:ext cx="10082625"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34978100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6085061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367958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1508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746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26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141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3255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2375974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58110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874059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691247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012750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96960517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7671364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46435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271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81277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427154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167981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628320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2476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83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3821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198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744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38798812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4523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943447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31838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0523833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40244676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4228985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28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214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2615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515321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24972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7130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0014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7"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37073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89D1FF"/>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2" y="0"/>
            <a:ext cx="7226300" cy="6858000"/>
          </a:xfrm>
          <a:prstGeom prst="rect">
            <a:avLst/>
          </a:prstGeom>
          <a:solidFill>
            <a:srgbClr val="D1EFFF"/>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vert="horz" anchor="b" anchorCtr="0">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7"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517095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13881790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87997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7599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83069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75815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9654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82084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18157283"/>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98220722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80122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805522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666560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49767473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7282741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21816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79172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36158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05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3250291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05629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782276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2948093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1670024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19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7"/>
            <a:ext cx="184393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66975579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080755088"/>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eal Small Anvil Outline Pattern 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B55A2-4C35-5451-67D3-87BC90EB113D}"/>
              </a:ext>
            </a:extLst>
          </p:cNvPr>
          <p:cNvSpPr/>
          <p:nvPr userDrawn="1"/>
        </p:nvSpPr>
        <p:spPr>
          <a:xfrm>
            <a:off x="0" y="0"/>
            <a:ext cx="12195175" cy="6858000"/>
          </a:xfrm>
          <a:prstGeom prst="rect">
            <a:avLst/>
          </a:prstGeom>
          <a:solidFill>
            <a:srgbClr val="89D1FF"/>
          </a:solidFill>
          <a:ln w="4467" cap="flat">
            <a:noFill/>
            <a:prstDash val="solid"/>
            <a:miter/>
          </a:ln>
        </p:spPr>
        <p:txBody>
          <a:bodyPr rtlCol="0" anchor="ctr"/>
          <a:lstStyle/>
          <a:p>
            <a:pPr algn="l" defTabSz="1088327"/>
            <a:endParaRPr lang="en-US" sz="1799">
              <a:solidFill>
                <a:srgbClr val="000000"/>
              </a:solidFill>
            </a:endParaRPr>
          </a:p>
        </p:txBody>
      </p:sp>
    </p:spTree>
    <p:extLst>
      <p:ext uri="{BB962C8B-B14F-4D97-AF65-F5344CB8AC3E}">
        <p14:creationId xmlns:p14="http://schemas.microsoft.com/office/powerpoint/2010/main" val="15795179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33" Type="http://schemas.openxmlformats.org/officeDocument/2006/relationships/tags" Target="../tags/tag2.xml"/><Relationship Id="rId34" Type="http://schemas.openxmlformats.org/officeDocument/2006/relationships/tags" Target="../tags/tag3.xml"/><Relationship Id="rId35" Type="http://schemas.openxmlformats.org/officeDocument/2006/relationships/tags" Target="../tags/tag4.xml"/><Relationship Id="rId36" Type="http://schemas.openxmlformats.org/officeDocument/2006/relationships/tags" Target="../tags/tag5.xml"/><Relationship Id="rId37" Type="http://schemas.openxmlformats.org/officeDocument/2006/relationships/tags" Target="../tags/tag6.xml"/><Relationship Id="rId38" Type="http://schemas.openxmlformats.org/officeDocument/2006/relationships/tags" Target="../tags/tag7.xml"/><Relationship Id="rId39" Type="http://schemas.openxmlformats.org/officeDocument/2006/relationships/tags" Target="../tags/tag8.xml"/><Relationship Id="rId40" Type="http://schemas.openxmlformats.org/officeDocument/2006/relationships/tags" Target="../tags/tag9.xml"/><Relationship Id="rId41" Type="http://schemas.openxmlformats.org/officeDocument/2006/relationships/tags" Target="../tags/tag10.xml"/><Relationship Id="rId42" Type="http://schemas.openxmlformats.org/officeDocument/2006/relationships/tags" Target="../tags/tag11.xml"/><Relationship Id="rId43" Type="http://schemas.openxmlformats.org/officeDocument/2006/relationships/tags" Target="../tags/tag12.xml"/><Relationship Id="rId44" Type="http://schemas.openxmlformats.org/officeDocument/2006/relationships/tags" Target="../tags/tag13.xml"/><Relationship Id="rId45" Type="http://schemas.openxmlformats.org/officeDocument/2006/relationships/tags" Target="../tags/tag14.xml"/><Relationship Id="rId46" Type="http://schemas.openxmlformats.org/officeDocument/2006/relationships/tags" Target="../tags/tag15.xml"/><Relationship Id="rId47" Type="http://schemas.openxmlformats.org/officeDocument/2006/relationships/tags" Target="../tags/tag16.xml"/><Relationship Id="rId48" Type="http://schemas.openxmlformats.org/officeDocument/2006/relationships/tags" Target="../tags/tag17.xml"/><Relationship Id="rId49" Type="http://schemas.openxmlformats.org/officeDocument/2006/relationships/tags" Target="../tags/tag18.xml"/><Relationship Id="rId50" Type="http://schemas.openxmlformats.org/officeDocument/2006/relationships/tags" Target="../tags/tag19.xml"/><Relationship Id="rId51" Type="http://schemas.openxmlformats.org/officeDocument/2006/relationships/tags" Target="../tags/tag20.xml"/><Relationship Id="rId52" Type="http://schemas.openxmlformats.org/officeDocument/2006/relationships/tags" Target="../tags/tag21.xml"/><Relationship Id="rId53" Type="http://schemas.openxmlformats.org/officeDocument/2006/relationships/tags" Target="../tags/tag22.xml"/><Relationship Id="rId54" Type="http://schemas.openxmlformats.org/officeDocument/2006/relationships/tags" Target="../tags/tag23.xml"/><Relationship Id="rId55" Type="http://schemas.openxmlformats.org/officeDocument/2006/relationships/tags" Target="../tags/tag24.xml"/><Relationship Id="rId56" Type="http://schemas.openxmlformats.org/officeDocument/2006/relationships/tags" Target="../tags/tag25.xml"/><Relationship Id="rId57" Type="http://schemas.openxmlformats.org/officeDocument/2006/relationships/tags" Target="../tags/tag26.xml"/><Relationship Id="rId58" Type="http://schemas.openxmlformats.org/officeDocument/2006/relationships/tags" Target="../tags/tag27.xml"/><Relationship Id="rId59" Type="http://schemas.openxmlformats.org/officeDocument/2006/relationships/tags" Target="../tags/tag28.xml"/><Relationship Id="rId60" Type="http://schemas.openxmlformats.org/officeDocument/2006/relationships/tags" Target="../tags/tag29.xml"/><Relationship Id="rId61" Type="http://schemas.openxmlformats.org/officeDocument/2006/relationships/tags" Target="../tags/tag30.xml"/><Relationship Id="rId62" Type="http://schemas.openxmlformats.org/officeDocument/2006/relationships/tags" Target="../tags/tag31.xml"/><Relationship Id="rId63" Type="http://schemas.openxmlformats.org/officeDocument/2006/relationships/tags" Target="../tags/tag32.xml"/><Relationship Id="rId64" Type="http://schemas.openxmlformats.org/officeDocument/2006/relationships/tags" Target="../tags/tag33.xml"/><Relationship Id="rId65" Type="http://schemas.openxmlformats.org/officeDocument/2006/relationships/tags" Target="../tags/tag34.xml"/><Relationship Id="rId66" Type="http://schemas.openxmlformats.org/officeDocument/2006/relationships/tags" Target="../tags/tag35.xml"/><Relationship Id="rId67" Type="http://schemas.openxmlformats.org/officeDocument/2006/relationships/tags" Target="../tags/tag36.xml"/><Relationship Id="rId68" Type="http://schemas.openxmlformats.org/officeDocument/2006/relationships/tags" Target="../tags/tag37.xml"/><Relationship Id="rId69" Type="http://schemas.openxmlformats.org/officeDocument/2006/relationships/tags" Target="../tags/tag38.xml"/><Relationship Id="rId70" Type="http://schemas.openxmlformats.org/officeDocument/2006/relationships/tags" Target="../tags/tag39.xml"/><Relationship Id="rId71" Type="http://schemas.openxmlformats.org/officeDocument/2006/relationships/tags" Target="../tags/tag40.xml"/><Relationship Id="rId72" Type="http://schemas.openxmlformats.org/officeDocument/2006/relationships/tags" Target="../tags/tag41.xml"/><Relationship Id="rId73" Type="http://schemas.openxmlformats.org/officeDocument/2006/relationships/tags" Target="../tags/tag42.xml"/><Relationship Id="rId74" Type="http://schemas.openxmlformats.org/officeDocument/2006/relationships/tags" Target="../tags/tag43.xml"/><Relationship Id="rId75" Type="http://schemas.openxmlformats.org/officeDocument/2006/relationships/tags" Target="../tags/tag44.xml"/><Relationship Id="rId76" Type="http://schemas.openxmlformats.org/officeDocument/2006/relationships/tags" Target="../tags/tag45.xml"/><Relationship Id="rId77" Type="http://schemas.openxmlformats.org/officeDocument/2006/relationships/tags" Target="../tags/tag46.xml"/><Relationship Id="rId78" Type="http://schemas.openxmlformats.org/officeDocument/2006/relationships/tags" Target="../tags/tag47.xml"/><Relationship Id="rId79" Type="http://schemas.openxmlformats.org/officeDocument/2006/relationships/tags" Target="../tags/tag48.xml"/><Relationship Id="rId80" Type="http://schemas.openxmlformats.org/officeDocument/2006/relationships/tags" Target="../tags/tag49.xml"/><Relationship Id="rId81" Type="http://schemas.openxmlformats.org/officeDocument/2006/relationships/tags" Target="../tags/tag50.xml"/><Relationship Id="rId82" Type="http://schemas.openxmlformats.org/officeDocument/2006/relationships/tags" Target="../tags/tag51.xml"/><Relationship Id="rId83" Type="http://schemas.openxmlformats.org/officeDocument/2006/relationships/tags" Target="../tags/tag52.xml"/><Relationship Id="rId84" Type="http://schemas.openxmlformats.org/officeDocument/2006/relationships/tags" Target="../tags/tag53.xml"/><Relationship Id="rId85" Type="http://schemas.openxmlformats.org/officeDocument/2006/relationships/tags" Target="../tags/tag54.xml"/><Relationship Id="rId86" Type="http://schemas.openxmlformats.org/officeDocument/2006/relationships/tags" Target="../tags/tag55.xml"/><Relationship Id="rId87" Type="http://schemas.openxmlformats.org/officeDocument/2006/relationships/tags" Target="../tags/tag56.xml"/><Relationship Id="rId88" Type="http://schemas.openxmlformats.org/officeDocument/2006/relationships/tags" Target="../tags/tag57.xml"/><Relationship Id="rId89" Type="http://schemas.openxmlformats.org/officeDocument/2006/relationships/tags" Target="../tags/tag58.xml"/><Relationship Id="rId90" Type="http://schemas.openxmlformats.org/officeDocument/2006/relationships/tags" Target="../tags/tag59.xml"/><Relationship Id="rId91" Type="http://schemas.openxmlformats.org/officeDocument/2006/relationships/tags" Target="../tags/tag60.xml"/><Relationship Id="rId92" Type="http://schemas.openxmlformats.org/officeDocument/2006/relationships/tags" Target="../tags/tag61.xml"/><Relationship Id="rId93" Type="http://schemas.openxmlformats.org/officeDocument/2006/relationships/tags" Target="../tags/tag62.xml"/><Relationship Id="rId94" Type="http://schemas.openxmlformats.org/officeDocument/2006/relationships/tags" Target="../tags/tag63.xml"/><Relationship Id="rId95" Type="http://schemas.openxmlformats.org/officeDocument/2006/relationships/tags" Target="../tags/tag64.xml"/><Relationship Id="rId96" Type="http://schemas.openxmlformats.org/officeDocument/2006/relationships/tags" Target="../tags/tag65.xml"/><Relationship Id="rId97" Type="http://schemas.openxmlformats.org/officeDocument/2006/relationships/tags" Target="../tags/tag66.xml"/><Relationship Id="rId98" Type="http://schemas.openxmlformats.org/officeDocument/2006/relationships/tags" Target="../tags/tag67.xml"/><Relationship Id="rId99" Type="http://schemas.openxmlformats.org/officeDocument/2006/relationships/tags" Target="../tags/tag68.xml"/><Relationship Id="rId100" Type="http://schemas.openxmlformats.org/officeDocument/2006/relationships/tags" Target="../tags/tag69.xml"/><Relationship Id="rId101" Type="http://schemas.openxmlformats.org/officeDocument/2006/relationships/tags" Target="../tags/tag70.xml"/><Relationship Id="rId102" Type="http://schemas.openxmlformats.org/officeDocument/2006/relationships/tags" Target="../tags/tag71.xml"/><Relationship Id="rId103" Type="http://schemas.openxmlformats.org/officeDocument/2006/relationships/tags" Target="../tags/tag72.xml"/><Relationship Id="rId104" Type="http://schemas.openxmlformats.org/officeDocument/2006/relationships/tags" Target="../tags/tag73.xml"/><Relationship Id="rId105" Type="http://schemas.openxmlformats.org/officeDocument/2006/relationships/tags" Target="../tags/tag74.xml"/><Relationship Id="rId106" Type="http://schemas.openxmlformats.org/officeDocument/2006/relationships/tags" Target="../tags/tag75.xml"/><Relationship Id="rId107" Type="http://schemas.openxmlformats.org/officeDocument/2006/relationships/tags" Target="../tags/tag76.xml"/><Relationship Id="rId108" Type="http://schemas.openxmlformats.org/officeDocument/2006/relationships/tags" Target="../tags/tag77.xml"/><Relationship Id="rId109" Type="http://schemas.openxmlformats.org/officeDocument/2006/relationships/tags" Target="../tags/tag78.xml"/><Relationship Id="rId110" Type="http://schemas.openxmlformats.org/officeDocument/2006/relationships/tags" Target="../tags/tag79.xml"/><Relationship Id="rId111" Type="http://schemas.openxmlformats.org/officeDocument/2006/relationships/tags" Target="../tags/tag80.xml"/><Relationship Id="rId112" Type="http://schemas.openxmlformats.org/officeDocument/2006/relationships/tags" Target="../tags/tag81.xml"/><Relationship Id="rId113" Type="http://schemas.openxmlformats.org/officeDocument/2006/relationships/tags" Target="../tags/tag82.xml"/><Relationship Id="rId114" Type="http://schemas.openxmlformats.org/officeDocument/2006/relationships/tags" Target="../tags/tag83.xml"/><Relationship Id="rId115" Type="http://schemas.openxmlformats.org/officeDocument/2006/relationships/tags" Target="../tags/tag84.xml"/><Relationship Id="rId116" Type="http://schemas.openxmlformats.org/officeDocument/2006/relationships/tags" Target="../tags/tag85.xml"/><Relationship Id="rId117" Type="http://schemas.openxmlformats.org/officeDocument/2006/relationships/tags" Target="../tags/tag86.xml"/><Relationship Id="rId118" Type="http://schemas.openxmlformats.org/officeDocument/2006/relationships/tags" Target="../tags/tag87.xml"/><Relationship Id="rId119" Type="http://schemas.openxmlformats.org/officeDocument/2006/relationships/tags" Target="../tags/tag88.xml"/><Relationship Id="rId120" Type="http://schemas.openxmlformats.org/officeDocument/2006/relationships/tags" Target="../tags/tag89.xml"/><Relationship Id="rId121" Type="http://schemas.openxmlformats.org/officeDocument/2006/relationships/tags" Target="../tags/tag90.xml"/><Relationship Id="rId122" Type="http://schemas.openxmlformats.org/officeDocument/2006/relationships/tags" Target="../tags/tag91.xml"/><Relationship Id="rId123" Type="http://schemas.openxmlformats.org/officeDocument/2006/relationships/tags" Target="../tags/tag92.xml"/><Relationship Id="rId124" Type="http://schemas.openxmlformats.org/officeDocument/2006/relationships/tags" Target="../tags/tag93.xml"/><Relationship Id="rId125" Type="http://schemas.openxmlformats.org/officeDocument/2006/relationships/tags" Target="../tags/tag94.xml"/><Relationship Id="rId126" Type="http://schemas.openxmlformats.org/officeDocument/2006/relationships/tags" Target="../tags/tag95.xml"/><Relationship Id="rId127" Type="http://schemas.openxmlformats.org/officeDocument/2006/relationships/tags" Target="../tags/tag96.xml"/><Relationship Id="rId128" Type="http://schemas.openxmlformats.org/officeDocument/2006/relationships/tags" Target="../tags/tag97.xml"/><Relationship Id="rId129" Type="http://schemas.openxmlformats.org/officeDocument/2006/relationships/tags" Target="../tags/tag98.xml"/><Relationship Id="rId130" Type="http://schemas.openxmlformats.org/officeDocument/2006/relationships/tags" Target="../tags/tag99.xml"/><Relationship Id="rId131" Type="http://schemas.openxmlformats.org/officeDocument/2006/relationships/tags" Target="../tags/tag100.xml"/><Relationship Id="rId132" Type="http://schemas.openxmlformats.org/officeDocument/2006/relationships/tags" Target="../tags/tag101.xml"/><Relationship Id="rId133" Type="http://schemas.openxmlformats.org/officeDocument/2006/relationships/tags" Target="../tags/tag102.xml"/><Relationship Id="rId134" Type="http://schemas.openxmlformats.org/officeDocument/2006/relationships/tags" Target="../tags/tag103.xml"/><Relationship Id="rId135" Type="http://schemas.openxmlformats.org/officeDocument/2006/relationships/tags" Target="../tags/tag104.xml"/><Relationship Id="rId136" Type="http://schemas.openxmlformats.org/officeDocument/2006/relationships/tags" Target="../tags/tag105.xml"/><Relationship Id="rId137" Type="http://schemas.openxmlformats.org/officeDocument/2006/relationships/tags" Target="../tags/tag106.xml"/><Relationship Id="rId138" Type="http://schemas.openxmlformats.org/officeDocument/2006/relationships/tags" Target="../tags/tag107.xml"/><Relationship Id="rId139" Type="http://schemas.openxmlformats.org/officeDocument/2006/relationships/tags" Target="../tags/tag108.xml"/><Relationship Id="rId140" Type="http://schemas.openxmlformats.org/officeDocument/2006/relationships/tags" Target="../tags/tag109.xml"/><Relationship Id="rId141" Type="http://schemas.openxmlformats.org/officeDocument/2006/relationships/tags" Target="../tags/tag110.xml"/><Relationship Id="rId142" Type="http://schemas.openxmlformats.org/officeDocument/2006/relationships/tags" Target="../tags/tag111.xml"/><Relationship Id="rId143" Type="http://schemas.openxmlformats.org/officeDocument/2006/relationships/tags" Target="../tags/tag112.xml"/><Relationship Id="rId144" Type="http://schemas.openxmlformats.org/officeDocument/2006/relationships/tags" Target="../tags/tag113.xml"/><Relationship Id="rId145" Type="http://schemas.openxmlformats.org/officeDocument/2006/relationships/tags" Target="../tags/tag114.xml"/><Relationship Id="rId146" Type="http://schemas.openxmlformats.org/officeDocument/2006/relationships/tags" Target="../tags/tag115.xml"/><Relationship Id="rId147" Type="http://schemas.openxmlformats.org/officeDocument/2006/relationships/tags" Target="../tags/tag116.xml"/><Relationship Id="rId148" Type="http://schemas.openxmlformats.org/officeDocument/2006/relationships/tags" Target="../tags/tag117.xml"/><Relationship Id="rId149" Type="http://schemas.openxmlformats.org/officeDocument/2006/relationships/tags" Target="../tags/tag118.xml"/><Relationship Id="rId150" Type="http://schemas.openxmlformats.org/officeDocument/2006/relationships/tags" Target="../tags/tag119.xml"/><Relationship Id="rId151" Type="http://schemas.openxmlformats.org/officeDocument/2006/relationships/tags" Target="../tags/tag120.xml"/><Relationship Id="rId152" Type="http://schemas.openxmlformats.org/officeDocument/2006/relationships/tags" Target="../tags/tag121.xml"/><Relationship Id="rId153" Type="http://schemas.openxmlformats.org/officeDocument/2006/relationships/tags" Target="../tags/tag122.xml"/><Relationship Id="rId154" Type="http://schemas.openxmlformats.org/officeDocument/2006/relationships/tags" Target="../tags/tag123.xml"/><Relationship Id="rId155" Type="http://schemas.openxmlformats.org/officeDocument/2006/relationships/tags" Target="../tags/tag124.xml"/><Relationship Id="rId156" Type="http://schemas.openxmlformats.org/officeDocument/2006/relationships/tags" Target="../tags/tag125.xml"/><Relationship Id="rId157" Type="http://schemas.openxmlformats.org/officeDocument/2006/relationships/oleObject" Target="../embeddings/oleObject1.bin"/><Relationship Id="rId15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 Id="rId20" Type="http://schemas.openxmlformats.org/officeDocument/2006/relationships/theme" Target="../theme/theme2.xml"/><Relationship Id="rId21" Type="http://schemas.openxmlformats.org/officeDocument/2006/relationships/tags" Target="../tags/tag128.xml"/><Relationship Id="rId22" Type="http://schemas.openxmlformats.org/officeDocument/2006/relationships/oleObject" Target="../embeddings/oleObject4.bin"/><Relationship Id="rId23"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slideLayout" Target="../slideLayouts/slideLayout68.xml"/><Relationship Id="rId19" Type="http://schemas.openxmlformats.org/officeDocument/2006/relationships/slideLayout" Target="../slideLayouts/slideLayout69.xml"/><Relationship Id="rId20" Type="http://schemas.openxmlformats.org/officeDocument/2006/relationships/theme" Target="../theme/theme3.xml"/><Relationship Id="rId21" Type="http://schemas.openxmlformats.org/officeDocument/2006/relationships/tags" Target="../tags/tag129.xml"/><Relationship Id="rId22" Type="http://schemas.openxmlformats.org/officeDocument/2006/relationships/oleObject" Target="../embeddings/oleObject5.bin"/><Relationship Id="rId23"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theme" Target="../theme/theme4.xml"/><Relationship Id="rId32" Type="http://schemas.openxmlformats.org/officeDocument/2006/relationships/tags" Target="../tags/tag130.xml"/><Relationship Id="rId33" Type="http://schemas.openxmlformats.org/officeDocument/2006/relationships/tags" Target="../tags/tag131.xml"/><Relationship Id="rId34" Type="http://schemas.openxmlformats.org/officeDocument/2006/relationships/tags" Target="../tags/tag132.xml"/><Relationship Id="rId35" Type="http://schemas.openxmlformats.org/officeDocument/2006/relationships/tags" Target="../tags/tag133.xml"/><Relationship Id="rId36" Type="http://schemas.openxmlformats.org/officeDocument/2006/relationships/tags" Target="../tags/tag134.xml"/><Relationship Id="rId37" Type="http://schemas.openxmlformats.org/officeDocument/2006/relationships/tags" Target="../tags/tag135.xml"/><Relationship Id="rId38" Type="http://schemas.openxmlformats.org/officeDocument/2006/relationships/tags" Target="../tags/tag136.xml"/><Relationship Id="rId39" Type="http://schemas.openxmlformats.org/officeDocument/2006/relationships/tags" Target="../tags/tag137.xml"/><Relationship Id="rId40" Type="http://schemas.openxmlformats.org/officeDocument/2006/relationships/tags" Target="../tags/tag138.xml"/><Relationship Id="rId41" Type="http://schemas.openxmlformats.org/officeDocument/2006/relationships/tags" Target="../tags/tag139.xml"/><Relationship Id="rId42" Type="http://schemas.openxmlformats.org/officeDocument/2006/relationships/tags" Target="../tags/tag140.xml"/><Relationship Id="rId43" Type="http://schemas.openxmlformats.org/officeDocument/2006/relationships/tags" Target="../tags/tag141.xml"/><Relationship Id="rId44" Type="http://schemas.openxmlformats.org/officeDocument/2006/relationships/tags" Target="../tags/tag142.xml"/><Relationship Id="rId45" Type="http://schemas.openxmlformats.org/officeDocument/2006/relationships/tags" Target="../tags/tag143.xml"/><Relationship Id="rId46" Type="http://schemas.openxmlformats.org/officeDocument/2006/relationships/tags" Target="../tags/tag144.xml"/><Relationship Id="rId47" Type="http://schemas.openxmlformats.org/officeDocument/2006/relationships/tags" Target="../tags/tag145.xml"/><Relationship Id="rId48" Type="http://schemas.openxmlformats.org/officeDocument/2006/relationships/tags" Target="../tags/tag146.xml"/><Relationship Id="rId49" Type="http://schemas.openxmlformats.org/officeDocument/2006/relationships/tags" Target="../tags/tag147.xml"/><Relationship Id="rId50" Type="http://schemas.openxmlformats.org/officeDocument/2006/relationships/tags" Target="../tags/tag148.xml"/><Relationship Id="rId51" Type="http://schemas.openxmlformats.org/officeDocument/2006/relationships/tags" Target="../tags/tag149.xml"/><Relationship Id="rId52" Type="http://schemas.openxmlformats.org/officeDocument/2006/relationships/tags" Target="../tags/tag150.xml"/><Relationship Id="rId53" Type="http://schemas.openxmlformats.org/officeDocument/2006/relationships/tags" Target="../tags/tag151.xml"/><Relationship Id="rId54" Type="http://schemas.openxmlformats.org/officeDocument/2006/relationships/tags" Target="../tags/tag152.xml"/><Relationship Id="rId55" Type="http://schemas.openxmlformats.org/officeDocument/2006/relationships/tags" Target="../tags/tag153.xml"/><Relationship Id="rId56" Type="http://schemas.openxmlformats.org/officeDocument/2006/relationships/tags" Target="../tags/tag154.xml"/><Relationship Id="rId57" Type="http://schemas.openxmlformats.org/officeDocument/2006/relationships/tags" Target="../tags/tag155.xml"/><Relationship Id="rId58" Type="http://schemas.openxmlformats.org/officeDocument/2006/relationships/tags" Target="../tags/tag156.xml"/><Relationship Id="rId59" Type="http://schemas.openxmlformats.org/officeDocument/2006/relationships/tags" Target="../tags/tag157.xml"/><Relationship Id="rId60" Type="http://schemas.openxmlformats.org/officeDocument/2006/relationships/tags" Target="../tags/tag158.xml"/><Relationship Id="rId61" Type="http://schemas.openxmlformats.org/officeDocument/2006/relationships/tags" Target="../tags/tag159.xml"/><Relationship Id="rId62" Type="http://schemas.openxmlformats.org/officeDocument/2006/relationships/tags" Target="../tags/tag160.xml"/><Relationship Id="rId63" Type="http://schemas.openxmlformats.org/officeDocument/2006/relationships/tags" Target="../tags/tag161.xml"/><Relationship Id="rId64" Type="http://schemas.openxmlformats.org/officeDocument/2006/relationships/tags" Target="../tags/tag162.xml"/><Relationship Id="rId65" Type="http://schemas.openxmlformats.org/officeDocument/2006/relationships/tags" Target="../tags/tag163.xml"/><Relationship Id="rId66" Type="http://schemas.openxmlformats.org/officeDocument/2006/relationships/tags" Target="../tags/tag164.xml"/><Relationship Id="rId67" Type="http://schemas.openxmlformats.org/officeDocument/2006/relationships/tags" Target="../tags/tag165.xml"/><Relationship Id="rId68" Type="http://schemas.openxmlformats.org/officeDocument/2006/relationships/tags" Target="../tags/tag166.xml"/><Relationship Id="rId69" Type="http://schemas.openxmlformats.org/officeDocument/2006/relationships/tags" Target="../tags/tag167.xml"/><Relationship Id="rId70" Type="http://schemas.openxmlformats.org/officeDocument/2006/relationships/tags" Target="../tags/tag168.xml"/><Relationship Id="rId71" Type="http://schemas.openxmlformats.org/officeDocument/2006/relationships/tags" Target="../tags/tag169.xml"/><Relationship Id="rId72" Type="http://schemas.openxmlformats.org/officeDocument/2006/relationships/tags" Target="../tags/tag170.xml"/><Relationship Id="rId73" Type="http://schemas.openxmlformats.org/officeDocument/2006/relationships/tags" Target="../tags/tag171.xml"/><Relationship Id="rId74" Type="http://schemas.openxmlformats.org/officeDocument/2006/relationships/tags" Target="../tags/tag172.xml"/><Relationship Id="rId75" Type="http://schemas.openxmlformats.org/officeDocument/2006/relationships/tags" Target="../tags/tag173.xml"/><Relationship Id="rId76" Type="http://schemas.openxmlformats.org/officeDocument/2006/relationships/tags" Target="../tags/tag174.xml"/><Relationship Id="rId77" Type="http://schemas.openxmlformats.org/officeDocument/2006/relationships/tags" Target="../tags/tag175.xml"/><Relationship Id="rId78" Type="http://schemas.openxmlformats.org/officeDocument/2006/relationships/tags" Target="../tags/tag176.xml"/><Relationship Id="rId79" Type="http://schemas.openxmlformats.org/officeDocument/2006/relationships/tags" Target="../tags/tag177.xml"/><Relationship Id="rId80" Type="http://schemas.openxmlformats.org/officeDocument/2006/relationships/tags" Target="../tags/tag178.xml"/><Relationship Id="rId81" Type="http://schemas.openxmlformats.org/officeDocument/2006/relationships/tags" Target="../tags/tag179.xml"/><Relationship Id="rId82" Type="http://schemas.openxmlformats.org/officeDocument/2006/relationships/tags" Target="../tags/tag180.xml"/><Relationship Id="rId83" Type="http://schemas.openxmlformats.org/officeDocument/2006/relationships/tags" Target="../tags/tag181.xml"/><Relationship Id="rId84" Type="http://schemas.openxmlformats.org/officeDocument/2006/relationships/tags" Target="../tags/tag182.xml"/><Relationship Id="rId85" Type="http://schemas.openxmlformats.org/officeDocument/2006/relationships/tags" Target="../tags/tag183.xml"/><Relationship Id="rId86" Type="http://schemas.openxmlformats.org/officeDocument/2006/relationships/tags" Target="../tags/tag184.xml"/><Relationship Id="rId87" Type="http://schemas.openxmlformats.org/officeDocument/2006/relationships/tags" Target="../tags/tag185.xml"/><Relationship Id="rId88" Type="http://schemas.openxmlformats.org/officeDocument/2006/relationships/tags" Target="../tags/tag186.xml"/><Relationship Id="rId89" Type="http://schemas.openxmlformats.org/officeDocument/2006/relationships/tags" Target="../tags/tag187.xml"/><Relationship Id="rId90" Type="http://schemas.openxmlformats.org/officeDocument/2006/relationships/tags" Target="../tags/tag188.xml"/><Relationship Id="rId91" Type="http://schemas.openxmlformats.org/officeDocument/2006/relationships/tags" Target="../tags/tag189.xml"/><Relationship Id="rId92" Type="http://schemas.openxmlformats.org/officeDocument/2006/relationships/tags" Target="../tags/tag190.xml"/><Relationship Id="rId93" Type="http://schemas.openxmlformats.org/officeDocument/2006/relationships/tags" Target="../tags/tag191.xml"/><Relationship Id="rId94" Type="http://schemas.openxmlformats.org/officeDocument/2006/relationships/tags" Target="../tags/tag192.xml"/><Relationship Id="rId95" Type="http://schemas.openxmlformats.org/officeDocument/2006/relationships/tags" Target="../tags/tag193.xml"/><Relationship Id="rId96" Type="http://schemas.openxmlformats.org/officeDocument/2006/relationships/tags" Target="../tags/tag194.xml"/><Relationship Id="rId97" Type="http://schemas.openxmlformats.org/officeDocument/2006/relationships/tags" Target="../tags/tag195.xml"/><Relationship Id="rId98" Type="http://schemas.openxmlformats.org/officeDocument/2006/relationships/tags" Target="../tags/tag196.xml"/><Relationship Id="rId99" Type="http://schemas.openxmlformats.org/officeDocument/2006/relationships/tags" Target="../tags/tag197.xml"/><Relationship Id="rId100" Type="http://schemas.openxmlformats.org/officeDocument/2006/relationships/tags" Target="../tags/tag198.xml"/><Relationship Id="rId101" Type="http://schemas.openxmlformats.org/officeDocument/2006/relationships/tags" Target="../tags/tag199.xml"/><Relationship Id="rId102" Type="http://schemas.openxmlformats.org/officeDocument/2006/relationships/tags" Target="../tags/tag200.xml"/><Relationship Id="rId103" Type="http://schemas.openxmlformats.org/officeDocument/2006/relationships/tags" Target="../tags/tag201.xml"/><Relationship Id="rId104" Type="http://schemas.openxmlformats.org/officeDocument/2006/relationships/tags" Target="../tags/tag202.xml"/><Relationship Id="rId105" Type="http://schemas.openxmlformats.org/officeDocument/2006/relationships/tags" Target="../tags/tag203.xml"/><Relationship Id="rId106" Type="http://schemas.openxmlformats.org/officeDocument/2006/relationships/tags" Target="../tags/tag204.xml"/><Relationship Id="rId107" Type="http://schemas.openxmlformats.org/officeDocument/2006/relationships/tags" Target="../tags/tag205.xml"/><Relationship Id="rId108" Type="http://schemas.openxmlformats.org/officeDocument/2006/relationships/tags" Target="../tags/tag206.xml"/><Relationship Id="rId109" Type="http://schemas.openxmlformats.org/officeDocument/2006/relationships/tags" Target="../tags/tag207.xml"/><Relationship Id="rId110" Type="http://schemas.openxmlformats.org/officeDocument/2006/relationships/tags" Target="../tags/tag208.xml"/><Relationship Id="rId111" Type="http://schemas.openxmlformats.org/officeDocument/2006/relationships/tags" Target="../tags/tag209.xml"/><Relationship Id="rId112" Type="http://schemas.openxmlformats.org/officeDocument/2006/relationships/tags" Target="../tags/tag210.xml"/><Relationship Id="rId113" Type="http://schemas.openxmlformats.org/officeDocument/2006/relationships/tags" Target="../tags/tag211.xml"/><Relationship Id="rId114" Type="http://schemas.openxmlformats.org/officeDocument/2006/relationships/tags" Target="../tags/tag212.xml"/><Relationship Id="rId115" Type="http://schemas.openxmlformats.org/officeDocument/2006/relationships/tags" Target="../tags/tag213.xml"/><Relationship Id="rId116" Type="http://schemas.openxmlformats.org/officeDocument/2006/relationships/tags" Target="../tags/tag214.xml"/><Relationship Id="rId117" Type="http://schemas.openxmlformats.org/officeDocument/2006/relationships/tags" Target="../tags/tag215.xml"/><Relationship Id="rId118" Type="http://schemas.openxmlformats.org/officeDocument/2006/relationships/tags" Target="../tags/tag216.xml"/><Relationship Id="rId119" Type="http://schemas.openxmlformats.org/officeDocument/2006/relationships/tags" Target="../tags/tag217.xml"/><Relationship Id="rId120" Type="http://schemas.openxmlformats.org/officeDocument/2006/relationships/tags" Target="../tags/tag218.xml"/><Relationship Id="rId121" Type="http://schemas.openxmlformats.org/officeDocument/2006/relationships/tags" Target="../tags/tag219.xml"/><Relationship Id="rId122" Type="http://schemas.openxmlformats.org/officeDocument/2006/relationships/tags" Target="../tags/tag220.xml"/><Relationship Id="rId123" Type="http://schemas.openxmlformats.org/officeDocument/2006/relationships/tags" Target="../tags/tag221.xml"/><Relationship Id="rId124" Type="http://schemas.openxmlformats.org/officeDocument/2006/relationships/tags" Target="../tags/tag222.xml"/><Relationship Id="rId125" Type="http://schemas.openxmlformats.org/officeDocument/2006/relationships/tags" Target="../tags/tag223.xml"/><Relationship Id="rId126" Type="http://schemas.openxmlformats.org/officeDocument/2006/relationships/tags" Target="../tags/tag224.xml"/><Relationship Id="rId127" Type="http://schemas.openxmlformats.org/officeDocument/2006/relationships/tags" Target="../tags/tag225.xml"/><Relationship Id="rId128" Type="http://schemas.openxmlformats.org/officeDocument/2006/relationships/tags" Target="../tags/tag226.xml"/><Relationship Id="rId129" Type="http://schemas.openxmlformats.org/officeDocument/2006/relationships/tags" Target="../tags/tag227.xml"/><Relationship Id="rId130" Type="http://schemas.openxmlformats.org/officeDocument/2006/relationships/tags" Target="../tags/tag228.xml"/><Relationship Id="rId131" Type="http://schemas.openxmlformats.org/officeDocument/2006/relationships/tags" Target="../tags/tag229.xml"/><Relationship Id="rId132" Type="http://schemas.openxmlformats.org/officeDocument/2006/relationships/tags" Target="../tags/tag230.xml"/><Relationship Id="rId133" Type="http://schemas.openxmlformats.org/officeDocument/2006/relationships/tags" Target="../tags/tag231.xml"/><Relationship Id="rId134" Type="http://schemas.openxmlformats.org/officeDocument/2006/relationships/tags" Target="../tags/tag232.xml"/><Relationship Id="rId135" Type="http://schemas.openxmlformats.org/officeDocument/2006/relationships/tags" Target="../tags/tag233.xml"/><Relationship Id="rId136" Type="http://schemas.openxmlformats.org/officeDocument/2006/relationships/tags" Target="../tags/tag234.xml"/><Relationship Id="rId137" Type="http://schemas.openxmlformats.org/officeDocument/2006/relationships/tags" Target="../tags/tag235.xml"/><Relationship Id="rId138" Type="http://schemas.openxmlformats.org/officeDocument/2006/relationships/tags" Target="../tags/tag236.xml"/><Relationship Id="rId139" Type="http://schemas.openxmlformats.org/officeDocument/2006/relationships/tags" Target="../tags/tag237.xml"/><Relationship Id="rId140" Type="http://schemas.openxmlformats.org/officeDocument/2006/relationships/tags" Target="../tags/tag238.xml"/><Relationship Id="rId141" Type="http://schemas.openxmlformats.org/officeDocument/2006/relationships/tags" Target="../tags/tag239.xml"/><Relationship Id="rId142" Type="http://schemas.openxmlformats.org/officeDocument/2006/relationships/tags" Target="../tags/tag240.xml"/><Relationship Id="rId143" Type="http://schemas.openxmlformats.org/officeDocument/2006/relationships/tags" Target="../tags/tag241.xml"/><Relationship Id="rId144" Type="http://schemas.openxmlformats.org/officeDocument/2006/relationships/tags" Target="../tags/tag242.xml"/><Relationship Id="rId145" Type="http://schemas.openxmlformats.org/officeDocument/2006/relationships/tags" Target="../tags/tag243.xml"/><Relationship Id="rId146" Type="http://schemas.openxmlformats.org/officeDocument/2006/relationships/tags" Target="../tags/tag244.xml"/><Relationship Id="rId147" Type="http://schemas.openxmlformats.org/officeDocument/2006/relationships/tags" Target="../tags/tag245.xml"/><Relationship Id="rId148" Type="http://schemas.openxmlformats.org/officeDocument/2006/relationships/tags" Target="../tags/tag246.xml"/><Relationship Id="rId149" Type="http://schemas.openxmlformats.org/officeDocument/2006/relationships/tags" Target="../tags/tag247.xml"/><Relationship Id="rId150" Type="http://schemas.openxmlformats.org/officeDocument/2006/relationships/tags" Target="../tags/tag248.xml"/><Relationship Id="rId151" Type="http://schemas.openxmlformats.org/officeDocument/2006/relationships/tags" Target="../tags/tag249.xml"/><Relationship Id="rId152" Type="http://schemas.openxmlformats.org/officeDocument/2006/relationships/tags" Target="../tags/tag250.xml"/><Relationship Id="rId153" Type="http://schemas.openxmlformats.org/officeDocument/2006/relationships/tags" Target="../tags/tag251.xml"/><Relationship Id="rId154" Type="http://schemas.openxmlformats.org/officeDocument/2006/relationships/tags" Target="../tags/tag252.xml"/><Relationship Id="rId155" Type="http://schemas.openxmlformats.org/officeDocument/2006/relationships/tags" Target="../tags/tag253.xml"/><Relationship Id="rId156" Type="http://schemas.openxmlformats.org/officeDocument/2006/relationships/oleObject" Target="../embeddings/oleObject6.bin"/><Relationship Id="rId15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3"/>
            </p:custDataLst>
            <p:extLst>
              <p:ext uri="{D42A27DB-BD31-4B8C-83A1-F6EECF244321}">
                <p14:modId xmlns:p14="http://schemas.microsoft.com/office/powerpoint/2010/main" val="371399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7" imgW="306" imgH="306" progId="TCLayout.ActiveDocument.1">
                  <p:embed/>
                </p:oleObj>
              </mc:Choice>
              <mc:Fallback>
                <p:oleObj name="think-cell Slide" r:id="rId157"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8"/>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A720E741-89F4-5512-1D96-1B5460C1166D}"/>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3" r:id="rId9"/>
    <p:sldLayoutId id="2147483794" r:id="rId10"/>
    <p:sldLayoutId id="2147483741" r:id="rId11"/>
    <p:sldLayoutId id="2147483765" r:id="rId12"/>
    <p:sldLayoutId id="2147483767" r:id="rId13"/>
    <p:sldLayoutId id="2147483786" r:id="rId14"/>
    <p:sldLayoutId id="2147483743" r:id="rId15"/>
    <p:sldLayoutId id="2147483774" r:id="rId16"/>
    <p:sldLayoutId id="2147483745" r:id="rId17"/>
    <p:sldLayoutId id="2147483760" r:id="rId18"/>
    <p:sldLayoutId id="2147483768" r:id="rId19"/>
    <p:sldLayoutId id="2147483769" r:id="rId20"/>
    <p:sldLayoutId id="2147483770" r:id="rId21"/>
    <p:sldLayoutId id="2147483744" r:id="rId22"/>
    <p:sldLayoutId id="2147483757" r:id="rId23"/>
    <p:sldLayoutId id="2147483771" r:id="rId24"/>
    <p:sldLayoutId id="2147483763" r:id="rId25"/>
    <p:sldLayoutId id="2147483751" r:id="rId26"/>
    <p:sldLayoutId id="2147483756" r:id="rId27"/>
    <p:sldLayoutId id="2147483740" r:id="rId28"/>
    <p:sldLayoutId id="2147483874" r:id="rId29"/>
    <p:sldLayoutId id="2147483876" r:id="rId30"/>
    <p:sldLayoutId id="214748387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9426445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0807B76C-00E5-A418-5FD4-B3AD62DE9D58}"/>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7927092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7208118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116F1A75-305C-1A9A-D146-C73CD5DBF9D9}"/>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036052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2"/>
            </p:custDataLst>
            <p:extLst>
              <p:ext uri="{D42A27DB-BD31-4B8C-83A1-F6EECF244321}">
                <p14:modId xmlns:p14="http://schemas.microsoft.com/office/powerpoint/2010/main" val="239867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6" imgW="306" imgH="306" progId="TCLayout.ActiveDocument.1">
                  <p:embed/>
                </p:oleObj>
              </mc:Choice>
              <mc:Fallback>
                <p:oleObj name="think-cell Slide" r:id="rId156"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7"/>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and Partners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D1E39570-4267-1A7A-C213-71CA13959BCF}"/>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49031513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tags" Target="../tags/tag257.xml"/><Relationship Id="rId3" Type="http://schemas.openxmlformats.org/officeDocument/2006/relationships/slideLayout" Target="../slideLayouts/slideLayout29.xml"/><Relationship Id="rId4" Type="http://schemas.openxmlformats.org/officeDocument/2006/relationships/notesSlide" Target="../notesSlides/notesSlide1.xml"/><Relationship Id="rId5" Type="http://schemas.openxmlformats.org/officeDocument/2006/relationships/oleObject" Target="../embeddings/oleObject7.bin"/><Relationship Id="rId6" Type="http://schemas.openxmlformats.org/officeDocument/2006/relationships/image" Target="../media/image10.emf"/><Relationship Id="rId7"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15.xml"/><Relationship Id="rId3" Type="http://schemas.openxmlformats.org/officeDocument/2006/relationships/notesSlide" Target="../notesSlides/notesSlide1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15.xml"/><Relationship Id="rId3" Type="http://schemas.openxmlformats.org/officeDocument/2006/relationships/notesSlide" Target="../notesSlides/notesSlide1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2.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15.xml"/><Relationship Id="rId3" Type="http://schemas.openxmlformats.org/officeDocument/2006/relationships/notesSlide" Target="../notesSlides/notesSlide1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3.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15.xml"/><Relationship Id="rId3" Type="http://schemas.openxmlformats.org/officeDocument/2006/relationships/notesSlide" Target="../notesSlides/notesSlide1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4.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15.xml"/><Relationship Id="rId3" Type="http://schemas.openxmlformats.org/officeDocument/2006/relationships/notesSlide" Target="../notesSlides/notesSlide1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15.xml"/><Relationship Id="rId3" Type="http://schemas.openxmlformats.org/officeDocument/2006/relationships/notesSlide" Target="../notesSlides/notesSlide1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15.xml"/><Relationship Id="rId3" Type="http://schemas.openxmlformats.org/officeDocument/2006/relationships/notesSlide" Target="../notesSlides/notesSlide1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15.xml"/><Relationship Id="rId3" Type="http://schemas.openxmlformats.org/officeDocument/2006/relationships/notesSlide" Target="../notesSlides/notesSlide1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15.xml"/><Relationship Id="rId3" Type="http://schemas.openxmlformats.org/officeDocument/2006/relationships/notesSlide" Target="../notesSlides/notesSlide1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9.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15.xml"/><Relationship Id="rId3" Type="http://schemas.openxmlformats.org/officeDocument/2006/relationships/notesSlide" Target="../notesSlides/notesSlide1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29.xml"/><Relationship Id="rId3" Type="http://schemas.openxmlformats.org/officeDocument/2006/relationships/notesSlide" Target="../notesSlides/notesSlide2.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15.xml"/><Relationship Id="rId3" Type="http://schemas.openxmlformats.org/officeDocument/2006/relationships/notesSlide" Target="../notesSlides/notesSlide2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1.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15.xml"/><Relationship Id="rId3" Type="http://schemas.openxmlformats.org/officeDocument/2006/relationships/notesSlide" Target="../notesSlides/notesSlide2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15.xml"/><Relationship Id="rId3" Type="http://schemas.openxmlformats.org/officeDocument/2006/relationships/notesSlide" Target="../notesSlides/notesSlide2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3.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15.xml"/><Relationship Id="rId3" Type="http://schemas.openxmlformats.org/officeDocument/2006/relationships/notesSlide" Target="../notesSlides/notesSlide2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4.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15.xml"/><Relationship Id="rId3" Type="http://schemas.openxmlformats.org/officeDocument/2006/relationships/notesSlide" Target="../notesSlides/notesSlide2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5.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15.xml"/><Relationship Id="rId3" Type="http://schemas.openxmlformats.org/officeDocument/2006/relationships/notesSlide" Target="../notesSlides/notesSlide2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6.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15.xml"/><Relationship Id="rId3" Type="http://schemas.openxmlformats.org/officeDocument/2006/relationships/notesSlide" Target="../notesSlides/notesSlide2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29.xml"/><Relationship Id="rId3" Type="http://schemas.openxmlformats.org/officeDocument/2006/relationships/notesSlide" Target="../notesSlides/notesSlide3.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29.xml"/><Relationship Id="rId3" Type="http://schemas.openxmlformats.org/officeDocument/2006/relationships/notesSlide" Target="../notesSlides/notesSlide4.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5.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29.xml"/><Relationship Id="rId3" Type="http://schemas.openxmlformats.org/officeDocument/2006/relationships/notesSlide" Target="../notesSlides/notesSlide5.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29.xml"/><Relationship Id="rId3" Type="http://schemas.openxmlformats.org/officeDocument/2006/relationships/notesSlide" Target="../notesSlides/notesSlide6.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16.xml"/><Relationship Id="rId3" Type="http://schemas.openxmlformats.org/officeDocument/2006/relationships/notesSlide" Target="../notesSlides/notesSlide7.xml"/><Relationship Id="rId4" Type="http://schemas.openxmlformats.org/officeDocument/2006/relationships/oleObject" Target="../embeddings/oleObject9.bin"/><Relationship Id="rId5" Type="http://schemas.openxmlformats.org/officeDocument/2006/relationships/image" Target="../media/image11.emf"/></Relationships>
</file>

<file path=ppt/slides/_rels/slide8.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16.xml"/><Relationship Id="rId3" Type="http://schemas.openxmlformats.org/officeDocument/2006/relationships/notesSlide" Target="../notesSlides/notesSlide8.xml"/><Relationship Id="rId4" Type="http://schemas.openxmlformats.org/officeDocument/2006/relationships/oleObject" Target="../embeddings/oleObject9.bin"/><Relationship Id="rId5" Type="http://schemas.openxmlformats.org/officeDocument/2006/relationships/image" Target="../media/image11.emf"/></Relationships>
</file>

<file path=ppt/slides/_rels/slide9.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15.xml"/><Relationship Id="rId3" Type="http://schemas.openxmlformats.org/officeDocument/2006/relationships/notesSlide" Target="../notesSlides/notesSlide9.xml"/><Relationship Id="rId4" Type="http://schemas.openxmlformats.org/officeDocument/2006/relationships/oleObject" Target="../embeddings/oleObject10.bin"/><Relationship Id="rId5"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dirty="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a:spLocks/>
          </p:cNvSpPr>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2262"/>
            <a:ext cx="3649174" cy="82906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BOX_SALES">
            <a:extLst>
              <a:ext uri="{FF2B5EF4-FFF2-40B4-BE49-F238E27FC236}">
                <a16:creationId xmlns:a16="http://schemas.microsoft.com/office/drawing/2014/main" id="{C21E78F7-CB56-DA3A-6FF1-0C1A882A28C8}"/>
              </a:ext>
            </a:extLst>
          </p:cNvPr>
          <p:cNvGraphicFramePr>
            <a:graphicFrameLocks noGrp="1"/>
          </p:cNvGraphicFramePr>
          <p:nvPr/>
        </p:nvGraphicFramePr>
        <p:xfrm>
          <a:off x="8180976" y="1807904"/>
          <a:ext cx="3586955" cy="3542901"/>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defTabSz="1087470">
                        <a:spcBef>
                          <a:spcPct val="0"/>
                        </a:spcBef>
                        <a:spcAft>
                          <a:spcPts val="100"/>
                        </a:spcAft>
                        <a:defRPr/>
                      </a:pPr>
                      <a:r>
                        <a:rPr b="1" sz="700">
                          <a:solidFill>
                            <a:srgbClr val="00B0F0"/>
                          </a:solidFill>
                        </a:rPr>
                        <a:t>SP-24636  – C4C Integration in CDP Inbound</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p>
                      <a:pPr marL="0" marR="0" lvl="0" indent="0" algn="l" rtl="0" eaLnBrk="1" fontAlgn="auto" latinLnBrk="0" hangingPunct="1">
                        <a:lnSpc>
                          <a:spcPct val="100000"/>
                        </a:lnSpc>
                        <a:spcBef>
                          <a:spcPts val="0"/>
                        </a:spcBef>
                        <a:spcAft>
                          <a:spcPts val="0"/>
                        </a:spcAft>
                        <a:buClrTx/>
                        <a:buSzTx/>
                        <a:buFontTx/>
                        <a:buNone/>
                      </a:pPr>
                      <a:r>
                        <a:rPr lang="de-DE" sz="700" b="0" dirty="0"/>
                        <a:t> </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defTabSz="1087470">
                        <a:spcBef>
                          <a:spcPct val="0"/>
                        </a:spcBef>
                        <a:spcAft>
                          <a:spcPts val="100"/>
                        </a:spcAft>
                        <a:defRPr/>
                      </a:pPr>
                      <a:r>
                        <a:rPr b="1" sz="700">
                          <a:solidFill>
                            <a:srgbClr val="00B0F0"/>
                          </a:solidFill>
                        </a:rPr>
                        <a:t>SP-28344 - 360 SMC Contact Fact Sheet Replacement PoC</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842699"/>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nvGraphicFramePr>
        <p:xfrm>
          <a:off x="4302511" y="5305125"/>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BOX_COMPLIANCE">
            <a:extLst>
              <a:ext uri="{FF2B5EF4-FFF2-40B4-BE49-F238E27FC236}">
                <a16:creationId xmlns:a16="http://schemas.microsoft.com/office/drawing/2014/main" id="{F2A7AFCA-C203-E04F-4B37-8B0C2B5B20FD}"/>
              </a:ext>
            </a:extLst>
          </p:cNvPr>
          <p:cNvGraphicFramePr>
            <a:graphicFrameLocks noGrp="1"/>
          </p:cNvGraphicFramePr>
          <p:nvPr/>
        </p:nvGraphicFramePr>
        <p:xfrm>
          <a:off x="503238" y="5799400"/>
          <a:ext cx="3608359" cy="60960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b="1" sz="700">
                          <a:solidFill>
                            <a:srgbClr val="00B0F0"/>
                          </a:solidFill>
                        </a:rPr>
                        <a:t>SP-27120 - China CBDT- Long Term Compliance</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BOX_CUSTOMER_SUCCESS">
            <a:extLst>
              <a:ext uri="{FF2B5EF4-FFF2-40B4-BE49-F238E27FC236}">
                <a16:creationId xmlns:a16="http://schemas.microsoft.com/office/drawing/2014/main" id="{6EC3B42E-E75A-3A1D-F499-13F94EA65CE8}"/>
              </a:ext>
            </a:extLst>
          </p:cNvPr>
          <p:cNvGraphicFramePr>
            <a:graphicFrameLocks noGrp="1"/>
          </p:cNvGraphicFramePr>
          <p:nvPr/>
        </p:nvGraphicFramePr>
        <p:xfrm>
          <a:off x="8148439" y="5853913"/>
          <a:ext cx="3661179" cy="3048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nvGraphicFramePr>
        <p:xfrm>
          <a:off x="4820400" y="4106492"/>
          <a:ext cx="2573216" cy="2184833"/>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408429" y="38215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396926" y="402288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811336" y="588863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BOX_MARKETING">
            <a:extLst>
              <a:ext uri="{FF2B5EF4-FFF2-40B4-BE49-F238E27FC236}">
                <a16:creationId xmlns:a16="http://schemas.microsoft.com/office/drawing/2014/main" id="{303EF505-49D3-B2EC-0731-684336D010A9}"/>
              </a:ext>
            </a:extLst>
          </p:cNvPr>
          <p:cNvGraphicFramePr>
            <a:graphicFrameLocks noGrp="1"/>
          </p:cNvGraphicFramePr>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b="1" sz="700">
                          <a:solidFill>
                            <a:srgbClr val="00B0F0"/>
                          </a:solidFill>
                        </a:rPr>
                        <a:t>ITDYM-4319 – CDP MVP | RISE Program</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defTabSz="1087470">
                        <a:spcBef>
                          <a:spcPct val="0"/>
                        </a:spcBef>
                        <a:spcAft>
                          <a:spcPts val="100"/>
                        </a:spcAft>
                        <a:defRPr/>
                      </a:pPr>
                      <a:r>
                        <a:rPr b="1" sz="700">
                          <a:solidFill>
                            <a:srgbClr val="00B0F0"/>
                          </a:solidFill>
                        </a:rPr>
                        <a:t>DP Harmonized Data Product for Gainsight platform consumpt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defTabSz="1087470">
                        <a:spcBef>
                          <a:spcPct val="0"/>
                        </a:spcBef>
                        <a:spcAft>
                          <a:spcPts val="100"/>
                        </a:spcAft>
                        <a:defRPr/>
                      </a:pPr>
                      <a:r>
                        <a:rPr b="1" sz="700">
                          <a:solidFill>
                            <a:srgbClr val="00B0F0"/>
                          </a:solidFill>
                        </a:rPr>
                        <a:t>ITDYM-4319 – CDP MVP | RISE Program</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01.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r>
                        <a:rPr lang="en-US" sz="700" dirty="0"/>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Tree>
    <p:extLst>
      <p:ext uri="{BB962C8B-B14F-4D97-AF65-F5344CB8AC3E}">
        <p14:creationId xmlns:p14="http://schemas.microsoft.com/office/powerpoint/2010/main" val="3649394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272E3-2F8D-B030-17DD-52757F62168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D8C1A5-51A2-C9A5-6E3B-2E020EE415A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3A187E-4DF7-E157-1F3E-83481FCE90A4}"/>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DP Harmonized Data Product for Gainsight platform consumption</a:t>
            </a:r>
            <a:r>
              <a:rPr sz="700"/>
              <a:t>
</a:t>
            </a:r>
            <a:endParaRPr lang="en-US" dirty="0">
              <a:latin typeface="72 Brand Medium"/>
            </a:endParaRPr>
          </a:p>
        </p:txBody>
      </p:sp>
      <p:sp>
        <p:nvSpPr>
          <p:cNvPr id="13" name="Rectangle 12">
            <a:extLst>
              <a:ext uri="{FF2B5EF4-FFF2-40B4-BE49-F238E27FC236}">
                <a16:creationId xmlns:a16="http://schemas.microsoft.com/office/drawing/2014/main" id="{5FC8A9ED-1A65-0F27-272F-5EC0479A6FF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BE2C242-6BCE-9AA5-81E6-BB32DB42AAA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test</a:t>
            </a:r>
          </a:p>
        </p:txBody>
      </p:sp>
      <p:sp>
        <p:nvSpPr>
          <p:cNvPr id="15" name="Rectangle 14">
            <a:extLst>
              <a:ext uri="{FF2B5EF4-FFF2-40B4-BE49-F238E27FC236}">
                <a16:creationId xmlns:a16="http://schemas.microsoft.com/office/drawing/2014/main" id="{2B497D3C-6096-8954-727D-56A5058936D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est</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6219C11-39D2-4B41-CA3E-F897D26FE32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ts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C112FF7-4334-9C7D-D0E5-5B38A9260C6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D0E24A55-1A5B-0113-C91D-110986F6B58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ax Musterman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0B6D422-A0B5-F08D-E18D-F690C594823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a Musterfrau</a:t>
            </a:r>
          </a:p>
        </p:txBody>
      </p:sp>
      <p:sp>
        <p:nvSpPr>
          <p:cNvPr id="23" name="Rectangle 22">
            <a:extLst>
              <a:ext uri="{FF2B5EF4-FFF2-40B4-BE49-F238E27FC236}">
                <a16:creationId xmlns:a16="http://schemas.microsoft.com/office/drawing/2014/main" id="{41E2C6EC-1147-9418-BBA8-E84D91DF336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6CE686AE-52D1-A050-1A41-BE0BC1C42CF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C7D0C6D-CC99-FFC2-4490-5CB47D30AC5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25D141B-F6EE-8941-A5DB-34C4D2B1D19F}"/>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1E0AD00B-E502-9892-0DB6-6269A313FB8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DE0AE80-8F47-7F10-0964-3093033164C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09E71AE-F557-8785-DCF2-23ED979B161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2C0717B-18DA-A8D6-208B-7361DE7D036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0356ECC-2929-A7C3-6889-15ACACD1256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D0E4A23-BB6A-ECA4-3D0A-F1F89E039CB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5B60579-5CAB-8145-C17B-A3FF2A43723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AF9891A-8627-FD1E-B17E-D748D9EC4E4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7FC3A48-3AF2-81CF-8697-CCA091F3B42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C87234F-1507-1B30-53AE-C76880F66C3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2FBCE4A8-F02E-02E7-29E0-06AC83BD19A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0721A4-090D-DD64-846B-B94E2407871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D1D8B79-C22C-6B65-47CF-99CBDAD85AE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6BD009E8-B8C7-936A-F178-4E14A06F7AC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3F34DEC-BBD0-F2E6-8459-8EDA8C96572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E4EB7C5F-1BBD-8515-049B-ED4AB97C082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9E337C9-9818-CED7-1EDF-1290D18AC33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87DD833-BA39-2C8D-A90B-DDDC2F16186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484BDEF-1781-1819-A1A3-C7179E2FAD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0A5C574-A576-2F71-7531-6B99F30B03D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655F453F-8369-67DE-96F5-0EDCBC47A02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91C76B-4D8B-4588-6D2D-B8FFC3F8807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9D69C994-950E-E7D9-818F-B0D3E84618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1B559FF-0E23-EC58-7C7F-A942606B851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7DC8795-1EDE-8DAA-4C7A-DE8B56AE3B4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B173EAA-7E77-C5AA-B32C-AB6F6A46936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FF4C0B9-6414-AB4D-F537-31F70016666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BC8CBBC4-9F14-000E-842F-BE965660354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A1DD20C9-43DA-1C3F-C6BC-42973401FEA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78283AE-2347-84C1-5DFA-A37640618A4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5B9A3E0-4E65-293F-E395-BB4278D27D4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96BEAC-688A-CD02-22BD-5F6995A31AAE}"/>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55E65C43-BB35-FF87-F082-42D46AD0DF0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D425C4E7-209A-195A-69E9-2DEEBDE5746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DDB3D9C-B74E-8A21-CB45-DEB1838681A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1A65648-6ED8-3081-F0DA-BF02C80A1D2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C5A9AC0-1756-9563-258B-798133786AD5}"/>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A80F334A-3238-BF86-E048-23EDB3857E9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03487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ECA0F-CCAE-EBE8-2E9A-4C9E0F898CEA}"/>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2C3EF8A-72D7-55EA-D2DA-368C36C71A0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27D725-D018-BF0D-79AA-8820EBEB81F1}"/>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ITDYM-4319 – CDP MVP | RISE Program</a:t>
            </a:r>
            <a:r>
              <a:rPr sz="700"/>
              <a:t>
</a:t>
            </a:r>
            <a:endParaRPr lang="en-US" dirty="0">
              <a:latin typeface="72 Brand Medium"/>
            </a:endParaRPr>
          </a:p>
        </p:txBody>
      </p:sp>
      <p:sp>
        <p:nvSpPr>
          <p:cNvPr id="13" name="Rectangle 12">
            <a:extLst>
              <a:ext uri="{FF2B5EF4-FFF2-40B4-BE49-F238E27FC236}">
                <a16:creationId xmlns:a16="http://schemas.microsoft.com/office/drawing/2014/main" id="{C4EB519B-2A66-F006-8BA7-C52D5C47459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55021B8-9211-4CE8-5CD0-ACA59DFE4E6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elp accelerate customers to our cloud by demonstrating value at key accounts, particularly for key decision makers and influencers (finance &amp; operations)​
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
Target RISE accounts in LinkedIn</a:t>
            </a:r>
          </a:p>
        </p:txBody>
      </p:sp>
      <p:sp>
        <p:nvSpPr>
          <p:cNvPr id="15" name="Rectangle 14">
            <a:extLst>
              <a:ext uri="{FF2B5EF4-FFF2-40B4-BE49-F238E27FC236}">
                <a16:creationId xmlns:a16="http://schemas.microsoft.com/office/drawing/2014/main" id="{05B3DF1B-81DC-3FB7-4DCE-F963A6383B78}"/>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
Market(s): Austria &amp; Nordics. Persona (“sub-IDP”): CIO​
Segment: ECC customers engaged with marketing, no pipeline, with medium to large Maintenance Revenue Band (&gt;100k - &lt;500k [medium] &amp; &gt;500k [large])​
TAL as of Q4 2024: # Austria = 153 Accounts / # Nordics = 149 Accounts (Denmark, Norway, Iceland, Sweden, Finland combin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561FE05-6377-1D0E-4D11-125C777D28E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Generate net new contacts (opt-in)​
Among others, increase Ad, Web and Buying Committee Engagement, and engagement score ​
​
KPI to be measured: ​
Reach X% (penetration rate) into Accounts ​
Engagement: Increase number, frequency and quality of interactions / X% increase in engagement and asset consumption rates​
Generate X% new marketable contacts within targeted accounts​
​</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65BB6E9-0233-7BE2-AD25-73DD0273814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Austria + Nordics</a:t>
            </a:r>
          </a:p>
        </p:txBody>
      </p:sp>
      <p:sp>
        <p:nvSpPr>
          <p:cNvPr id="17" name="Rectangle 16">
            <a:extLst>
              <a:ext uri="{FF2B5EF4-FFF2-40B4-BE49-F238E27FC236}">
                <a16:creationId xmlns:a16="http://schemas.microsoft.com/office/drawing/2014/main" id="{FF20E08C-AC17-15AD-0C33-294482D9DBD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Nitin Singh</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88B3843-4D3D-26E7-84C3-F0ACE08870B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ennis Frick</a:t>
            </a:r>
          </a:p>
        </p:txBody>
      </p:sp>
      <p:sp>
        <p:nvSpPr>
          <p:cNvPr id="23" name="Rectangle 22">
            <a:extLst>
              <a:ext uri="{FF2B5EF4-FFF2-40B4-BE49-F238E27FC236}">
                <a16:creationId xmlns:a16="http://schemas.microsoft.com/office/drawing/2014/main" id="{67C3BE11-57DB-8753-7C35-810F0CAFECB8}"/>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BB0CA04C-0777-B39E-7603-4443390511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CA5713-7770-5B93-F3AD-86E6E976393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7B274AF-044E-8B41-18D3-C3FABEB4993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7F04D32-D8A4-9DE4-DB36-9130DDD33B0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0311650-C619-3C56-F393-2E68D0B5BE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FAA9EE0-3DF8-E1A2-9103-072B3995D817}"/>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EC3244A-B694-E05F-5113-C70F064852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D17EE90-4468-6124-D52F-2717029CFE1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9807D6F-D5DF-F4E6-CB07-A6C6192623B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A0C2C5A-3ED6-1755-C0F4-A1244E6D0D6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F2268AF-476D-5E8B-488E-CAF4C6FCE18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23AB682-007B-D276-DC3E-D5C85DB9CBE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19215798-1213-2E23-841C-210FF32DB32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9C06EFF-5624-056B-1387-A62EEB33D39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F2A589C-7DC2-86B5-0DE8-4133C5A2407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4038257-524F-0F45-0A46-65C1875254B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0F596B-EFA8-D650-5D46-B64C5D02D0F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546222E-3789-3D2C-1185-51C1E76B000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859C8C3-3294-255C-7BE4-F1E78B5E66B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1F99992-4FF0-64CC-D17C-0D4A81FA559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73259F0-AACA-0683-FCB2-861F028E884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53234CB-95B1-2046-BD26-65EBFDA3EB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2CE9A990-3FA0-0EEC-3E7E-0662E680112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929A9E1-CDCC-F5EB-04E1-EC72E05A324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D17BAE9-D87C-7349-8D86-947649FD9C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9FAC5AF-2113-4E89-2202-F508FC2D31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0740EFA-ADD2-83B3-6F17-F262BD88410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434E7E0-DD9B-71CA-AF26-3CB0CE0157F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389BD2F-1D41-F0DE-A511-15FD1677F33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B5CE93DF-1193-A028-0300-AA899B398C12}"/>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7B7B23-C57F-A2F3-95A7-8168912F1C2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EE2E4D19-3608-62E1-733D-ECB1386C35E7}"/>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D20C510-848D-3EAE-AF60-E26C0670B4C7}"/>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38A627D2-0BC2-1030-AA27-906E24CC1AF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7B93561-1ED3-A38D-2174-DE606CB8276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D56F59E-7358-AFE4-F7C1-ADBF58EB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70AA456-1064-C76F-2FCE-B4A0E0C0FDBD}"/>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2F1D4FB-96F9-2A43-01F7-43A3538B7BA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734359-53A7-A032-6E74-7837EEBB3EB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24A8CFE-D05A-097E-D8FD-F92B558FA56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303982A7-C2DB-938F-3DA9-172332C35D1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990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5A800-2457-9F39-E373-BF3AE914A22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617A2D0-30DF-FCA2-15C5-B738948B55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2BB2C-1D95-5661-8C3E-B2959FA93867}"/>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4636  – C4C Integration in CDP Inbound</a:t>
            </a:r>
            <a:r>
              <a:rPr sz="700"/>
              <a:t>
</a:t>
            </a:r>
            <a:endParaRPr lang="en-US" dirty="0">
              <a:latin typeface="72 Brand Medium"/>
            </a:endParaRPr>
          </a:p>
        </p:txBody>
      </p:sp>
      <p:sp>
        <p:nvSpPr>
          <p:cNvPr id="13" name="Rectangle 12">
            <a:extLst>
              <a:ext uri="{FF2B5EF4-FFF2-40B4-BE49-F238E27FC236}">
                <a16:creationId xmlns:a16="http://schemas.microsoft.com/office/drawing/2014/main" id="{9E865D0F-4625-3CB1-8EBF-6620209EAF4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0E19F9B-5062-D29E-900E-AA840082B48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NGCS project aims to develop a reliable and efficient synchronization mechanism between SAP Sales Cloud (C4C), Outreach, and the CDP to ensure consistent and accurate contact data across platforms.</a:t>
            </a:r>
          </a:p>
        </p:txBody>
      </p:sp>
      <p:sp>
        <p:nvSpPr>
          <p:cNvPr id="15" name="Rectangle 14">
            <a:extLst>
              <a:ext uri="{FF2B5EF4-FFF2-40B4-BE49-F238E27FC236}">
                <a16:creationId xmlns:a16="http://schemas.microsoft.com/office/drawing/2014/main" id="{FA587836-6086-E207-66A0-AF27A3B8A38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e scope includes:
Data Synchronization:
Establish a process to update contacts between C4C and Outreach via CDP.
Duplicate Prevention:
Introduce checks in CDP to identify existing contacts before creating new records.
Update existing contacts instead of generating duplicates.
Bidirectional Update Implementation:
Develop API-based mechanisms to enable updates from CDP to C4C.
Update Scope:
Synchronize key fields such as name, email, phone number, and job title.</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963A759-0F03-0E2A-C4E3-2357D21BDDB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lementing robust contact synchronization between SAP Sales Cloud (C4C), Outreach, and the CDP will:
Reduce data inconsistencies and ensure up-to-date information across systems.
Automate contact updates and reduce manual data management efforts.
Minimize redundant records, enhancing data quality and usability.
Enable scalability and data integrity as the organization expands its customer engagement and sales process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1043728-390D-FA8D-EA34-CE6BAE06169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AC748CD7-B215-B2F3-F878-881019D1A21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a Angur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70449E0-1F73-31DD-7779-8D1AD8CC34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Jeff Ingrast, Tristian Raver</a:t>
            </a:r>
          </a:p>
        </p:txBody>
      </p:sp>
      <p:sp>
        <p:nvSpPr>
          <p:cNvPr id="23" name="Rectangle 22">
            <a:extLst>
              <a:ext uri="{FF2B5EF4-FFF2-40B4-BE49-F238E27FC236}">
                <a16:creationId xmlns:a16="http://schemas.microsoft.com/office/drawing/2014/main" id="{26A64787-470E-F376-AE10-31C858AAE99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3E3026B4-9B78-48D8-20FC-014E4AD6C8DE}"/>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BEA9B19-1B64-48FA-31F7-1AD91DD99B5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451AB30-74FC-5B21-981F-6EA4D2CE1BF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ACA30AE-C890-8577-D33E-BCD9A60D7E06}"/>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AC07CFBD-9C54-0C65-72E3-D71913B634E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BBB5184E-B658-977D-6D63-3F98A2EEFD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AB2EB78-3C66-71B6-656E-9DA9AA491FE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779B2FC-2CB5-37F7-9605-49A7306F48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F3F7337-227D-0892-9BE1-426787D1D6A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4504999A-A731-F306-CACC-2F7F2AB0EF2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0497E6-513B-059A-DC65-5B1BF2A82B5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4A4A25C-24E5-28C8-4B05-7218C108004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0840DC6-77BA-35E5-2384-8D926D2F714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519679C-C515-273E-B302-391B8A352889}"/>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79D5CA45-0298-D683-071C-ACA4DABB81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8292265-7B90-9273-556B-A4F43D8DEEB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1602A11-514F-A347-0A74-29435F89115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5D68F7B-08E8-F071-F880-5F8A8BC5362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03D5DE14-62C1-FF76-B513-26654BA9905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4693FB7-BBED-A164-5CC1-BDA5ED22165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6BD3377-804E-C766-E6C6-3D70B88AEB9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F4330949-A53E-F20C-8502-E9C9217C88E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B0C41D0-E6BC-5E03-AC88-5C1526D2241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AA9FF12-4969-F1D7-EB51-DE8886B11A3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C2B88C4-7F28-2463-223D-3B9EC771C4F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9D7ADDA-C76A-6971-FC33-DACFE1FAB64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2702F8E-1EA4-C8C2-530A-5824B38ABD6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0F8F75-16F3-ACBF-A511-172485A5E2C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0A30064-F3ED-5D8E-F3DC-3239DB78EA83}"/>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0FB0701-1ABA-25A5-9031-F3853FD19EFE}"/>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8F3475A-45A2-1D83-C953-8B4B584274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38A8F239-73E1-2DB4-C7ED-128ACDF67A2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1864648-1585-5287-B737-2D6CFAE76FC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E82D494-13A2-5310-4288-7A49BBC58E9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6898E78-C13D-096B-B835-6694169D55B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E9FC6386-BDA5-C748-77D0-2060A9F221A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7B873FA-4026-7C07-B8C9-EAE46C06F0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6CDBF35-6853-F0BC-51C8-F59B1EAAAF7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EB26740-31FA-A551-4529-E01B45DF88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51EDD51-FA12-D25D-3448-2323B8A56C7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090D48A-B565-7E19-A645-60F08E6B17AF}"/>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574272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55FBE-1CBC-369B-2DC6-F659AADDCF9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59517EA-2EB5-0E7B-DF9F-36C216CB82EE}"/>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1ABC2-C86D-E051-98F8-7F36FFD33E6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8344 - 360 SMC Contact Fact Sheet Replacement PoC</a:t>
            </a:r>
            <a:r>
              <a:rPr sz="700"/>
              <a:t>
</a:t>
            </a:r>
            <a:endParaRPr lang="en-US" dirty="0">
              <a:latin typeface="72 Brand Medium"/>
            </a:endParaRPr>
          </a:p>
        </p:txBody>
      </p:sp>
      <p:sp>
        <p:nvSpPr>
          <p:cNvPr id="13" name="Rectangle 12">
            <a:extLst>
              <a:ext uri="{FF2B5EF4-FFF2-40B4-BE49-F238E27FC236}">
                <a16:creationId xmlns:a16="http://schemas.microsoft.com/office/drawing/2014/main" id="{679BDD0A-6DAA-D08C-51F0-50B72F30DA1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19775ED-1017-6B2D-D645-EF36ACF2D4A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urrently, CRM is the primary source for managing contacts, but it lacks a centralized approach to consolidate contact data across multiple sources. This leads to inconsistent, incomplete, or outdated contact information across systems.</a:t>
            </a:r>
          </a:p>
        </p:txBody>
      </p:sp>
      <p:sp>
        <p:nvSpPr>
          <p:cNvPr id="15" name="Rectangle 14">
            <a:extLst>
              <a:ext uri="{FF2B5EF4-FFF2-40B4-BE49-F238E27FC236}">
                <a16:creationId xmlns:a16="http://schemas.microsoft.com/office/drawing/2014/main" id="{A92582D7-A49E-38E5-2F56-CBC8428FA329}"/>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ransition CDP (Customer Data Platform) to become the leading system for contact management, replacing CRM in a phased manner.​
Phase 1 : Sync CDP and Outreach ( Create and Update) Prospects for​
    Solution Contacts​
    Key Contacts​
    ​
Phase 2 : Expand CDP and Outreach integration for  rest of the contact attribute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983852E-14A3-F422-8B1A-55405947715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Single Source of Truth: Ensures CDP becomes the central hub for contact data, improving accuracy and consistency across systems.​
    Scalable Foundation: Establishes the groundwork for future phases, enabling CDP as leading system for Contacts and replicating the contact data to Outreach​
KPI to be measured:</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F1B616D-3747-7AF6-8D3B-26B5A786A628}"/>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033EB0C7-0BB1-CFD0-8DE0-B84965493D4B}"/>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Carol Marchesy, Nitin Singil</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71AFEBC-2F41-29E9-DA2C-E2C8CC124359}"/>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uzanne McFady</a:t>
            </a:r>
          </a:p>
        </p:txBody>
      </p:sp>
      <p:sp>
        <p:nvSpPr>
          <p:cNvPr id="23" name="Rectangle 22">
            <a:extLst>
              <a:ext uri="{FF2B5EF4-FFF2-40B4-BE49-F238E27FC236}">
                <a16:creationId xmlns:a16="http://schemas.microsoft.com/office/drawing/2014/main" id="{2822DD79-665F-C091-1D45-ED5437508F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85FD6139-5EDE-8F85-016E-6B27CF104B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855284F-80F4-0FEE-756B-DAD7063C77B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DCFA6F1-B109-20A0-6473-99C3F62203B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DDD4814-B531-8875-F60F-A945617B6DE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B26D141-CCA9-69A6-FAC7-85482C62E4F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C3F12FE-027D-5349-056F-4B89D9BD17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23DB243-EDF5-FE32-AD1D-DD41097E862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EEDEDD2-D7B8-3CD5-1CF6-3836F3D6BD66}"/>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DDF0F98-99F0-9B78-BB20-A9EC667D4A5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DD34AC9-BA3F-B001-3CE0-428C5F3EA99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ED909C-A2D0-05B9-3CB7-2F24AA4F51E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F513007-32C0-13CB-33C3-267E6AC42A8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76A9570-E692-34A9-4E74-88084F08680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D45A48D-CAAB-E09E-F9AB-C911A3B0474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111-0763-3CDA-EE8B-8C23A3BBBDF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E4676744-4928-2810-AF84-39CD4B33927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C6DE32B-A531-4C88-38A0-36AB98CC9B0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2BD8F27-3A7E-ED62-9938-6013A4278AC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A3FCAC6-C43C-A826-3CC7-94A150E9B77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28B69640-17F0-8AE9-BCFD-83E401F541F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C68C365-E36B-A930-44AC-1242E2086CD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5697C93-432B-192C-B07B-CE37AB39319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BC6CE43-480C-933F-A64A-4F8B66FFB9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D365442B-384B-394E-A06D-FC69D486132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706C231-09C0-70B5-E3D1-08B471E45B7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1C11D56-97BB-750F-DB33-1C88D0309F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AC396F-55F8-7701-BD7F-1B2D49E5718A}"/>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BE92D44-7819-F741-4CD0-E9B6702CC25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175417E-86C3-F310-7C66-3F4DB64D267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34FE5DB-5C02-52FB-6D1F-91F69E2615F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D57A37A2-ADB6-83CB-33F6-62FBA471A6F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9C1C9B3-0F6C-A357-502B-D8F19997BD3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A75E512-5B56-EEF3-9475-85F74656AE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5DD4803-14EF-1D6A-771B-CBFE017134E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CD1A5F-FB21-0457-4CCB-54FB9794653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0929978-B8CB-6537-1310-95BCD063BC6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1DDA647-6053-C5B1-DEFC-F58D4F82F9F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5808937D-E418-9BDD-5E5F-72914BBA8E2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EC1995D-9F0B-B8B2-9890-C8F741C610D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1E739A33-CBE9-E16B-E7BE-CB70FCE33D3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E6C28CB-5828-D0EC-0E86-BAD183243E4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67650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2EA0B-B0FC-1254-A0B7-504D02CD6E2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FAD8A73-890E-B20F-1578-43835FEC14D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7B9D-30BC-B583-DF83-D29775340D6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7065 - [PoC] Move classification Logic to CDP</a:t>
            </a:r>
            <a:r>
              <a:rPr sz="700"/>
              <a:t>
</a:t>
            </a:r>
            <a:endParaRPr lang="en-US" dirty="0">
              <a:latin typeface="72 Brand Medium"/>
            </a:endParaRPr>
          </a:p>
        </p:txBody>
      </p:sp>
      <p:sp>
        <p:nvSpPr>
          <p:cNvPr id="13" name="Rectangle 12">
            <a:extLst>
              <a:ext uri="{FF2B5EF4-FFF2-40B4-BE49-F238E27FC236}">
                <a16:creationId xmlns:a16="http://schemas.microsoft.com/office/drawing/2014/main" id="{8C80330B-1892-97E5-DF1B-61806A971C8A}"/>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F5D28B4-A45F-89A4-4893-730DA2BA9B3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A contact’s role can be identified based on their xLoB process interactions and the personas they fulfill within those processes. The assignment of roles identifies both current and future expectations for engagement and therefore provides supplementary information regarding their usage and importance to the management of the customer relationship.​
Currently, classifications are calculated in CRM. CDP is the platform where information from multiple sources is unified. Moving the calculation logic from CRM to CDP is a step towards our target architecture, with CDP serving as the central platform for derived fields</a:t>
            </a:r>
          </a:p>
        </p:txBody>
      </p:sp>
      <p:sp>
        <p:nvSpPr>
          <p:cNvPr id="15" name="Rectangle 14">
            <a:extLst>
              <a:ext uri="{FF2B5EF4-FFF2-40B4-BE49-F238E27FC236}">
                <a16:creationId xmlns:a16="http://schemas.microsoft.com/office/drawing/2014/main" id="{D74401E3-AE27-E531-1D9A-30C5433CF9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heck feasibility of rebuilding the classifications as a derived field in CDP​
    Only classifications that can be derived from contact attributes or roles should be included as derived fields.​
    Transactional and Contractual classifications are exclud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56A03D4-566E-826D-9FF9-47D3609CAE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Following target architecture to have CDP as central place for derived fields.​
    Realtime update of classification during ingestion in CDP​
    From CDP data can be distributed to other sources as needed.​
    Further improvement of classification logic is easier as CDP unifies multiple sources and offers deeper insights into a contact profile.</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5DBE8AD-2FF3-9EC8-98B3-C7E85F95D653}"/>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Marketing</a:t>
            </a:r>
          </a:p>
        </p:txBody>
      </p:sp>
      <p:sp>
        <p:nvSpPr>
          <p:cNvPr id="17" name="Rectangle 16">
            <a:extLst>
              <a:ext uri="{FF2B5EF4-FFF2-40B4-BE49-F238E27FC236}">
                <a16:creationId xmlns:a16="http://schemas.microsoft.com/office/drawing/2014/main" id="{BEF00039-7F79-15FA-A141-63FBE83A32B3}"/>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emal Korza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3E142C2E-5AAF-D9EA-9D13-D2F1B05B2D0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a:t>
            </a:r>
          </a:p>
        </p:txBody>
      </p:sp>
      <p:sp>
        <p:nvSpPr>
          <p:cNvPr id="23" name="Rectangle 22">
            <a:extLst>
              <a:ext uri="{FF2B5EF4-FFF2-40B4-BE49-F238E27FC236}">
                <a16:creationId xmlns:a16="http://schemas.microsoft.com/office/drawing/2014/main" id="{0DAC20A4-AC9A-5889-4E2D-CC67101E5EAB}"/>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t>
            </a:r>
          </a:p>
        </p:txBody>
      </p:sp>
      <p:sp>
        <p:nvSpPr>
          <p:cNvPr id="24" name="Rectangle 23">
            <a:extLst>
              <a:ext uri="{FF2B5EF4-FFF2-40B4-BE49-F238E27FC236}">
                <a16:creationId xmlns:a16="http://schemas.microsoft.com/office/drawing/2014/main" id="{3436461D-4593-AD48-0462-6B107F8FB75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62E240-4374-3B7B-6E1B-BE7C175AA89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653A2769-C054-DE83-CD24-78626C34B4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88A5E9E-FC19-D10B-976A-70179D52A97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595D5BB-672A-306B-910E-C61B13E26C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2F30D21-F1D3-D2AB-DA88-E88204F4532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D1C07BE4-CF9D-AB4E-5165-26EAE810B9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C7D7851-5177-9749-AF0A-9ECED821F1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3D7A9D9-FB88-A61E-C666-7D2288E21C3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B56A2EC-46B7-0D81-E388-048B7B71C9A9}"/>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CB7452E-9E2F-79C4-C17B-89EBF6D0E99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268FF0B-BF28-34E2-D797-46BC05E7D73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D5D5C04-FFD3-907E-44C9-A9B1A7578D1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F040A43-0239-35DA-9C18-B9592667DA1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B529FB8-2AFC-9935-AD4A-40BBD31CC14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EECC909-9E7E-6E01-27A1-E4A9DB1D20B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41A035B-02D1-2FEE-306C-2BA2AE5446A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6B4D379-5F70-26E2-B191-ABA6F2834EA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9BF8C1E-02DD-9A31-B214-F56188AB44F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6EB8D9B-A5F1-051C-5EFC-3EFBA2203B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A81CF9D-72C4-BD3C-80C4-CD919F9DB7A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5E363DF-E90D-814F-27E6-DA3D39B7D4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72A5B5C-4877-D018-EFF4-BF5D927E674B}"/>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A6B5F4D-F344-124F-0D49-D88BB94B72E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16563F5-374D-D043-F9D7-9F85978DAE5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D162D28-7763-81BF-3988-725E6B93C05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AC2231-F051-53A4-E31B-049A8B0BCEAE}"/>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BE6FD52-DDBA-13F6-9D83-DBE0EC01CC9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0A30CA9-2454-9B8B-906C-7718B50D346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1627D6B-517C-2287-5FCF-72710960AA4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0435108-6D1C-F007-7635-69238DF563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E57E8CA-8CE1-41ED-739D-C1E29EED65A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90CE7DD-335C-1BEA-B340-AC729CD4F1E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18E7605-3184-8B5B-2CB8-68C274F2DA4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5BDD20A-D9F4-2060-39DD-A0620F764E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FADC01A-DA90-7EA6-CDF1-E08127A939C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D89E506-09EF-369C-FF6E-06AE0D009DE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6B0D8BFA-FCCD-AC85-5C97-78F39F6902A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0140447-5A29-2332-1B5A-280EE58EB04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ABAF9EB7-E647-1753-4533-8896AA8FA45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FC18151E-E056-BC83-209D-312214EC7E6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3296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6121-A88A-9FED-850D-27C33526FBE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09579CF-CC34-8C7C-089B-C4EC78EFDE03}"/>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F069E6-9480-977E-E0A2-C16ED02B81C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7120 - China CBDT- Long Term Compliance</a:t>
            </a:r>
            <a:r>
              <a:rPr sz="700"/>
              <a:t>
</a:t>
            </a:r>
            <a:endParaRPr lang="en-US" dirty="0">
              <a:latin typeface="72 Brand Medium"/>
            </a:endParaRPr>
          </a:p>
        </p:txBody>
      </p:sp>
      <p:sp>
        <p:nvSpPr>
          <p:cNvPr id="13" name="Rectangle 12">
            <a:extLst>
              <a:ext uri="{FF2B5EF4-FFF2-40B4-BE49-F238E27FC236}">
                <a16:creationId xmlns:a16="http://schemas.microsoft.com/office/drawing/2014/main" id="{CE78FEAC-F5E1-7710-6B29-65E3BA119208}"/>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3EA6078-3406-47D0-4E87-AF7AC4DE5DC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hina has instituted a data privacy law which requires that a citizen of China must be able to grant or revoke cross-boarder data transfer (CBDT) of their personal information
In order to comply with CBDT consent SAP must react to a revoke by deleting the individuals personal data from all global systems
Local consent repository established to capture CBDT consent but missing transparency and recognition of real-time revocation</a:t>
            </a:r>
          </a:p>
        </p:txBody>
      </p:sp>
      <p:sp>
        <p:nvSpPr>
          <p:cNvPr id="15" name="Rectangle 14">
            <a:extLst>
              <a:ext uri="{FF2B5EF4-FFF2-40B4-BE49-F238E27FC236}">
                <a16:creationId xmlns:a16="http://schemas.microsoft.com/office/drawing/2014/main" id="{88C93434-AAB9-2A86-8B70-6F43CEA4BD2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hen a contact revokes CBDT, SAP should delete the contact record from all global systems (SMC, MDG, CRM, ISP, PRM...) and as CDP will receive the revoke from the consent repository and identify the various source systems in which the contact is present.  
We would like to trigger a notification (email workflow) to DPP Operations (recipient (privacy@SAP.com) (tbc) &amp; email content to be confirmed) when a revoke is received which includes information regarding the source systems and identifiers for the contact to be delet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3606E9C5-511E-F80F-2D85-2BA67A2613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Data Privacy and Protection,  Compliance with local regulations
Centralized and automated tracking and notifications of revoke and resulting need to delete personal dat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367D97F2-2FE5-A263-65FC-4A038753A80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 Sales, DPP</a:t>
            </a:r>
          </a:p>
        </p:txBody>
      </p:sp>
      <p:sp>
        <p:nvSpPr>
          <p:cNvPr id="17" name="Rectangle 16">
            <a:extLst>
              <a:ext uri="{FF2B5EF4-FFF2-40B4-BE49-F238E27FC236}">
                <a16:creationId xmlns:a16="http://schemas.microsoft.com/office/drawing/2014/main" id="{CB7EC37F-9996-0E30-5B0A-787A86BC1E8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Tristan Rav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F75573C-BD18-D368-81C3-563CB429F51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Zuzana Mihalikova &amp; Silvie Mezirkova</a:t>
            </a:r>
          </a:p>
        </p:txBody>
      </p:sp>
      <p:sp>
        <p:nvSpPr>
          <p:cNvPr id="23" name="Rectangle 22">
            <a:extLst>
              <a:ext uri="{FF2B5EF4-FFF2-40B4-BE49-F238E27FC236}">
                <a16:creationId xmlns:a16="http://schemas.microsoft.com/office/drawing/2014/main" id="{05FC266A-A4C5-2E04-97B4-D18567734C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Field Marketing China Field Sales China Data privacy operations</a:t>
            </a:r>
          </a:p>
        </p:txBody>
      </p:sp>
      <p:sp>
        <p:nvSpPr>
          <p:cNvPr id="24" name="Rectangle 23">
            <a:extLst>
              <a:ext uri="{FF2B5EF4-FFF2-40B4-BE49-F238E27FC236}">
                <a16:creationId xmlns:a16="http://schemas.microsoft.com/office/drawing/2014/main" id="{4EC9C5F4-393F-E39E-0886-B633E951770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363377A1-1BCB-D52A-4015-E10C1B8617C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4C390189-05C9-077D-431E-D5CB5DE9002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78FBC23-2C7D-24DD-9EF2-EFF25C3E767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074FDD4B-E2CF-8BAF-4EC6-E95C8643CD2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4325FDA-C519-0461-6B77-7CA685CE9B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1F16D0B-BDA1-8247-12BD-6BB1CC58481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04BBED4-3473-7FBC-B7C8-92D448A74A8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48BBE74-A7A5-9CB0-A35D-7A9AB965E1C1}"/>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21621B0-6081-8E01-AC8D-FAB5428C5B7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8BA4E994-7492-AFFB-6865-015C3BC3C7E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AB63904-C805-070A-2777-49EFAD8F782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A2B87D3-1A07-DCBB-2FA0-C5CFBC63B9D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7D0F2CD-8284-5FCA-C645-5AD1E86DF9A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405A897-149D-6179-9960-578918BB3947}"/>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A311C42-5C88-234C-3D19-C6A0DB6EA94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AEE329C-A8D8-5858-5FB4-93379DABBFD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65C69DA-6776-83D0-5DCF-9227A8CD356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F375233-29E1-2BC6-DC28-8766AAEFFD5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A971511-13AF-AC93-3397-1FB823A3280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2E4B1E3-A3BC-A207-4CE1-648125A148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7356B65-54FE-953A-BA4A-93CA4CFA1C3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E8220D0-BE54-6A6D-DB75-246FA960C0B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758A6A7-4C28-8E5E-B382-0F2C8F15904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9BB6A8B-D93B-B8D7-3D5F-8DD76252DF8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D3C8B48-EB6F-B537-A592-2E2529544D1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1006DCD-4C49-4A80-2BD1-E7DA297DB3F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984BAC9-267E-9C34-A366-ABB15EF89E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4D4D77-1B4A-76A8-6803-6CA8C8B164D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4216E1D5-1940-5245-E06F-7B3570B3E461}"/>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39D2A17-D99B-E61F-6D26-AA99895912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ACFEE46-9975-9C26-0915-6EFDFF61FCB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BEA7C3B-E482-D810-AD74-B05FDEF49CB6}"/>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D510773-8F20-3B3D-EDC4-7E6393A92CD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5DC5AFF-17F0-1193-73DF-718B61A3848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0BC9852-2209-FB17-D4B3-A6221C46535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FDA5CFD-55D6-3B88-6711-041A9F90796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DB3AF36-D1B5-27CF-37C5-8125FFC42FB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9DDC47D-82BA-DBF7-19F8-BAE04B35C8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63A83-C9ED-99CD-15B3-E074E4B10AF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B71E61A2-ECB5-BD07-819B-6714406DE01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61572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A6292-BD25-41C9-EEB6-ABAD185CDF6E}"/>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E84C797-52EB-41FA-53A9-C852DBEF5AE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010943-B4C8-0F31-CBFC-88D6E148961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ontact Interest Intelligence (CII) Integration in CDP - PoC</a:t>
            </a:r>
            <a:r>
              <a:rPr sz="700"/>
              <a:t>
</a:t>
            </a:r>
            <a:endParaRPr lang="en-US" dirty="0">
              <a:latin typeface="72 Brand Medium"/>
            </a:endParaRPr>
          </a:p>
        </p:txBody>
      </p:sp>
      <p:sp>
        <p:nvSpPr>
          <p:cNvPr id="13" name="Rectangle 12">
            <a:extLst>
              <a:ext uri="{FF2B5EF4-FFF2-40B4-BE49-F238E27FC236}">
                <a16:creationId xmlns:a16="http://schemas.microsoft.com/office/drawing/2014/main" id="{D165615F-C2D1-BFBF-62E8-862744FF1DB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84288AF5-8BDE-BA53-3123-72B439AD809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P’s current Person landscape (customer, supplier, partner, prospects) is highly segmented
No single source of truth for Person</a:t>
            </a:r>
          </a:p>
        </p:txBody>
      </p:sp>
      <p:sp>
        <p:nvSpPr>
          <p:cNvPr id="15" name="Rectangle 14">
            <a:extLst>
              <a:ext uri="{FF2B5EF4-FFF2-40B4-BE49-F238E27FC236}">
                <a16:creationId xmlns:a16="http://schemas.microsoft.com/office/drawing/2014/main" id="{B283192C-2938-748C-7C8E-6E243D02F6B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Integrating the CII service in the Central Person Profile will provide for central/direct consumption by Marketing for execution/segmentation as well as in target systems such as Outreach for Sales 
Benefits of CII:
Improved Dat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11999F1-9378-7E28-DE21-3269522A2A3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Legitimate interest will be calculated in CII at the solution and sub-solution area level
Calculated legitimate Interest will be stored in CDP as contact attributes at the solution and sub-solution area level
Calculating and storing legitimate interest at the solution area and sub-solution area level supports integrated demand programs (solution area) and sales processes (sub-solution are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00E1E5B-9571-9B31-8D86-3CF696ED039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3ADE6BFD-2D32-F86C-916A-3E0344C57D1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UC Own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C9A2265-F50C-6B28-CA99-C9F6930F148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a Musterfrau</a:t>
            </a:r>
          </a:p>
        </p:txBody>
      </p:sp>
      <p:sp>
        <p:nvSpPr>
          <p:cNvPr id="23" name="Rectangle 22">
            <a:extLst>
              <a:ext uri="{FF2B5EF4-FFF2-40B4-BE49-F238E27FC236}">
                <a16:creationId xmlns:a16="http://schemas.microsoft.com/office/drawing/2014/main" id="{4227BB36-EFCE-9B6D-33C9-7F83C2DA0AA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1A4D0CA0-A652-C4C3-B8DF-2DBD752F90F6}"/>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C621E36-AFF5-855C-A813-B115308C75A1}"/>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C880157-7923-675F-C9AD-F648AF71F0C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A68F26E-2372-00D2-31E8-629C96FD519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C9D615FA-7F0F-84BF-D5A8-6036963A796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7261FA2-A986-1674-C39E-704BB0ED520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8F6C4107-A5FE-95FA-F3E1-0799325D20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1FB77B0-95D8-78D3-DFAA-920BC08CC6C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47BB83C-45B4-0189-869D-16343061C16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371B6C3E-7D91-C813-39EB-3A201B3F7F35}"/>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8B090BE-513A-4542-3B15-CCE9A795F2E8}"/>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BC4E5FF-F95C-9F24-1538-749EE9A120B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8DBCAB1-B69E-4CF0-B265-0794B222567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F65043-F959-BE72-8C72-5C3A11C20BE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DBF0E2C-B88E-B5F6-3A87-A7BD347C60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D479B86-7AAD-9637-D6C8-9B693035FA0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043F6A-22B8-D953-5413-815D207D45C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34FAD6B-32B1-CE28-1062-A5F5314BD95B}"/>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D1BCEEA-0488-B3BB-1049-4FC2138E75F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C903E8E-0D8E-4BE9-C203-5DB13A84D25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FAB5D66E-C65C-DE74-358D-98E92B0373F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486B9CB1-BF53-41C9-9B43-2F9BD921536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E2550BF-6922-4B94-D856-2F75EA87E4F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F3C7B3B-BF9F-85C6-A995-3E7F96962E5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01F0B078-CA4F-FD30-A37A-20B45BADB6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B33C293-E150-D8AD-753A-BC6367E8EF5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EF38158-E509-B84D-7A13-15A54C0E118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B9A0DE3-BA39-3B65-1F4D-8BC7672C19D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875C8B-DCAC-4EE0-D463-11F046ACB17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1527B1F-0011-1F78-22A2-0FE352657EC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E62AE0D-FB7B-F1FA-667D-444F25EC23D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0CDD9EB-6D95-200B-93D5-91CE394025A5}"/>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D988EEE-18F4-7577-E028-F98036D589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336D19E-AF1D-680A-41DA-87C398884A6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26A01B6-2001-A838-7465-8D8AD9BC21E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B437A59-99D1-FA77-C78F-C4CD6DAB575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82FB0C4A-9FCA-3FB5-EDE6-CF1CD9AE2D2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35F6A75-394E-8BD7-F99F-8E0B31AE56B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4840E3F-4E22-E9E2-FB86-81060A6B1FD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85FE83E-6721-D0ED-9259-047E57EB7F3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4D0644-8B46-D3BA-966C-058AE2D2833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2228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3A0E-6783-FD44-DD1A-BB3F83F4D8B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122A156-7DFF-66F5-FDB5-599643E32179}"/>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A69BF-0840-1C71-FBD0-6A00103B1A4E}"/>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19150718-FCA4-5DBE-BE50-F1D50F6B3E8E}"/>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0FE7C9B6-20FA-523B-4E1B-5D3BF64E120C}"/>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97232E72-0FE8-F245-E2E4-5769DFDF7DB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EA916643-6F23-461D-EC43-DA36232E83F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EAE5AEF-4A33-27FF-A670-D74A6A3414D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69CACE14-BBFF-27E4-0B37-285EB7C1A48A}"/>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67284DA-A603-5062-FDE1-30AEF75F17ED}"/>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2303500-E39C-8957-158C-35D8DA486F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5DAA6B55-36F7-F999-4B11-DB26CECE8DB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2C3241-6875-9EA3-935E-8DBA8915517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B5E30D-A6C5-5CE2-E364-BFF245BD522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C2586A5-B617-60B7-3F42-F443E18C64F4}"/>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32023D8-4601-21C6-C40B-2E171D9339A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7062C19-9055-7CBE-75AB-E8FEB3F856C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CA83B3F-B83B-3B87-452F-186966D3E8B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200DD366-EDAB-C05A-EFE1-2F9E77CE2361}"/>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70BF573-1169-0B04-0B4C-EFDB84C6117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B7F4ADB-D2DE-A183-0A01-C447D5DB26D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8494324-FD65-733C-E6F4-95B1AAB60D6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102D4F3-6E3B-0ED3-71F6-991F2DACEE6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F28B5C8-652F-FA0A-6636-764B38D635D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008484-07A9-2BA2-93EA-6B2083F7D2D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F68F7A30-3CAF-D8EE-1A7B-4BFF4FBAEE7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A3C6774-6872-708F-1A6C-A80EEF2BA27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22BC590-8107-5D42-72AB-B70FF995495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600D26E-DA42-6FFC-678B-80D943E513B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FEA0AED2-84C7-A490-09FE-776E21835EA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C529720-80D1-62F0-8D04-48EFC0A9518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2D4F81-7CC3-12F9-7E30-D1C5A599FBF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854F3204-40B6-17B9-B3C4-02DEE39B995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118198F-0490-BC25-E917-4F234FFDDA3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75396F1-D9FE-F4B9-C920-2A241034C80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541EEF4-1FEA-E109-1652-73BFA30B07A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1AE912A2-DEFC-B3ED-7243-AF9E224610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A24FAB2-6C1E-6155-4790-B27B545D38B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BF5E0EF-6F65-8BD2-361E-7A4A1DEBD9E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10C5892-3F15-BB78-6C6E-2CFB45F71C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4C1EF97-7CCC-D1BE-CA53-D04B38D57F6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F717AE57-3AB9-568F-E5C7-E4B565145119}"/>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4A51673-72A3-017D-B8E7-5E65212F124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0AB1A21-C08B-96BB-CD2A-23A8A2D482A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97D1E76-A9EA-0F82-EE99-323CA88E980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7436FDE-1723-BD80-3640-1DAF92CE476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1886446-0BEA-EB8D-D302-3179DDF6DA9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F4A6213-727D-E7C4-4313-FF0729BD7B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AC861F-4409-E4F7-64AB-9E4C4E92E4C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57CC3A4-E88A-7523-D820-CE56B92278E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B86869-2237-750A-B5D8-76D9E91D4F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1DDE30-8933-3B5D-272F-3D120CEE2C5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76753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11E34-2FCB-3267-81FF-0962A32DE4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710ACA-34AF-1DF7-B1DE-FFE70C18B1D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EB944F-9FC7-D56D-6F4D-53D9B6F2B4AF}"/>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1CA02FB8-3F06-8CAB-943D-358C39ED8CED}"/>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20555AB-564C-4642-B8EF-94356A115EA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AF7094E4-1DA1-FAF8-B3E8-0051AD10A0FD}"/>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96DF2B5-49C9-542D-3F19-A9629F78446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5AD3C98-D93E-08CA-5346-DBCC38D10F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FB66EC0F-3BC4-632D-62D3-C3C6B77A1B5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6CC737FD-1127-E646-8EA1-7803090C2FD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015D1DBB-EA76-E78A-0F46-41B34501385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4AA19A64-2574-EBE9-425D-B8E82856D4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C8B0B0-09D4-C62E-C633-0ED93BB60B10}"/>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25B59820-ACAB-C9C3-9664-FC4636420B0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1829E68-3579-300C-66DE-1631B5DA1AA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FE11CE22-34FA-2387-BB05-A1D97A513CC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EA3DDA1-2BDE-53AD-9A69-2775B77A6F6B}"/>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967E3C-2C62-B285-2796-4E64226BB230}"/>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F24D138-9DC2-C1DB-000E-7FBAD20AD29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12772C4-F9A1-ECB0-0F13-97EA9342D03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31AC14-6B04-81CD-0B67-58A57699B9C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B63FE38-CA47-269C-E92A-E7C409E88A6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C0F5929-F3C0-B6CF-39EB-933E6C9520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A9158FC-2998-7451-9B6B-85DE92744FF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FFC40CF-5847-4B64-E39C-3A6F1426291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141DA81D-CA3D-FC96-23D9-78781960DEB1}"/>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C0C1EDE-3467-8513-A326-06870C64483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434099E-7590-1C40-9EF7-029D247DD91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D4528B6-93AF-7ABD-23E6-D02852A58F66}"/>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45CD97E-36FB-C843-B23A-5790EC85840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171395A-6BD1-C4AE-4E1E-BBA36343FC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CE5A92C-8BDC-44C3-7936-A4D6B1E4C4C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6BED1F-3BCD-0BCB-816F-68DD650DA1D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8021F49-F8CD-D029-464D-AD0313C06AC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49F508A7-7459-9296-D7F1-61D91EFC5E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82695D8-151B-75EF-B00E-FA4E8EE957C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375003E-7BC6-21FE-E512-497C099F8B4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B63A682-E15E-7B82-69CD-1F14C402BC7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F8F5380C-7398-C450-0B06-F774993DF613}"/>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10D7B44-270B-08C4-E35D-FCB753ED91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CC409B1-4173-E0AF-D9DB-034A134C93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40C98D65-75FC-A8C3-32BB-F6A4A3A9B1B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6FB71F6-1E19-80B3-2203-CBEAE5B88A5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2EA2C5D-9636-CA9B-0669-E4A01F7B715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FED0182-9E6D-77A6-974E-0BA16068D98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B9C9FF1-5BE0-93F8-E14C-0E202E11791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F5E41-859C-2498-DD38-5A796CB9140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3B2F26D-948E-F758-E1B7-B3720CA215B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02272EA-F2B0-A613-9993-98D59C7F09B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74908EB-1546-D071-D42A-8DD9A927EC8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74D0E83-551B-2CCD-96B2-C1E01B7842E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48A21329-84A9-9F16-79AC-86558E2EB42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95636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A5120-9ED8-2BBE-9CD7-B1BD0FE9816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F2F689-682A-D883-3C62-531B41F2179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0D218-B7C6-F4CC-61CC-BD7D43BFE590}"/>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19E48345-8396-B261-24AF-9AC28B460EF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3ED1E04-F978-76CA-73F5-245F9EDB73E5}"/>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F6D7517A-10DD-6193-18E0-C543002D6E4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F7FCDDD-F14C-CFB9-ABB5-B6680931574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8C74380-1698-20A9-65AB-3196A9C1C68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B575BCF9-055A-84A8-C1D6-94D7BDDDBC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FCC44C4-683E-2B44-69B1-5F74628489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DBDFDB31-4B3F-310E-CB08-709BDCB58E45}"/>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7C034E30-269A-F1B4-3656-BC85E714F65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7DE9878A-C53D-2FC8-7DE4-7D9B7901C61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C64EAAC2-6407-08AF-62CF-6F12D5A3A80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B293434-801E-8EEB-7FCA-F178DD85F2D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8509D1F-4F99-A837-C8C5-A62666F83E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91CFABD-BC47-E60C-6B15-83FC9602DF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E4D79B4-19DB-9895-BC39-547CEAABFBCF}"/>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8CDC0D3-082F-B308-BF67-055A05410B4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C47C5E-8F20-3B50-F7DB-37226F8E7F1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CE12DA2-540E-C260-29EE-142D19CA486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BF0056B-8059-BC94-A368-08305C588E2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1738C79-7BE2-A270-E3E3-4A7BCB8CDFA1}"/>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908858-C77D-A3D6-171B-64E991C155B5}"/>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6B27090-9382-6647-720E-9A3593B4947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A7869B5-955A-03D2-47FE-A2A0ACACBD8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C69015-4973-BDB2-8345-EF0226D8D48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BEA232-BE54-842E-A832-B38BA4DD023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059E0016-E082-2CCF-C0B8-26792BAE8A9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E25E1CD-3BBD-F53F-914B-2EC1541435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892CE94-AA37-16D2-4552-C8C4001F48C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D6FFBA4-6051-5F28-98F8-887A1BDDB9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CB4EA3C-4B0B-0817-75EF-9DBA57B0F9E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62F05C0C-8FF4-B1BD-524B-A8A2184CA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CF328DC-6626-3447-F37F-5E6C73CA0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80FED86-99E6-D5D3-E6C2-DD79F9C465B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75DB7D8-8A9C-1F15-77C1-ABD0227B20A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25076E1-2E80-25C8-EF9A-45B9B666D37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37E0A5A-170B-6A29-8965-A54F503D48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B9C1BC73-8E5A-6E2C-98CB-3C2A5051C35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DE2FC39-2938-36FC-3BDD-D7BD13D8067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93AB1AC2-357C-18D6-B730-3EAFEC36307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23FC057-4691-B718-449A-C67522B91AE4}"/>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ABB26E9-0E09-D171-7E5E-93B503F5D1E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880F70A-230A-60FD-9610-C48F9D931B4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265DA4D-C5FB-305A-4435-5820AF380AB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B4938F83-8F70-1376-5BCE-848CD711313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89D3BF9-998F-D91A-8B97-0B5519C2161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CCCBE5A-D1AE-4BDF-4AA7-2882AF94A77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495CB03-0D4A-DB88-6452-EC527AF1774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7AF8A2E0-37A1-6B3D-7986-E0ADA26C8F2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A333720-8719-CCAF-DD40-AB0AB10BA3C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32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F21C-8463-F8CD-7080-6CC7EB5442A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4F6A6E-1008-5D1D-A520-A886C21CA2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3956A29B-67BC-05D7-6A42-24BF6E6936ED}"/>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E19D924-63F5-3291-94D6-9D11C38B5B77}"/>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F78E84D7-A96F-AC98-53BE-4601AA23DB55}"/>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FD6E91E9-41FB-9D54-9FB8-707BDD43FAC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4F6A3024-25FB-B334-75D4-681E1F1F864F}"/>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94321E5C-39C1-8F2F-50E2-75794D4C71BA}"/>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091D387-FE7A-CCF7-73A3-DEF25780118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C2FE0FFB-7BAD-65B3-E2AD-BC87BFED9292}"/>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6AB0F08-F456-7B27-896C-7D842D5CC19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5062DC8-F015-B43C-AB2B-64F185885103}"/>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EC6CF3D-94A3-2EA1-8485-61721CB4083E}"/>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59B399D-E50E-38C6-C95E-F9A41A415D4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2FE7326A-D79E-1549-A027-C2109670902A}"/>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C24EB52-2D2F-01FF-277F-FC371967CFB0}"/>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56DD0F2F-26CF-9287-9CBD-7D2CE8D3F8A7}"/>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1EEEF0A-B1A0-1005-FE5E-0B3ADE9E4289}"/>
              </a:ext>
            </a:extLst>
          </p:cNvPr>
          <p:cNvGraphicFramePr>
            <a:graphicFrameLocks noGrp="1"/>
          </p:cNvGraphicFramePr>
          <p:nvPr>
            <p:extLst>
              <p:ext uri="{D42A27DB-BD31-4B8C-83A1-F6EECF244321}">
                <p14:modId xmlns:p14="http://schemas.microsoft.com/office/powerpoint/2010/main" val="2114842429"/>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ITDYM-4319 – CDP MVP | RISE Program</a:t>
                      </a:r>
                      <a:r>
                        <a:rPr sz="700"/>
                        <a:t>
</a:t>
                      </a:r>
                      <a:r>
                        <a:rPr sz="700">
                          <a:solidFill>
                            <a:srgbClr val="000000"/>
                          </a:solidFill>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Features closed (CDP | Drop-down menu with values), done 
Data into the new behavioral Data Schema</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6.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b="0" sz="1000">
                          <a:solidFill>
                            <a:srgbClr val="000000"/>
                          </a:solidFill>
                        </a:rPr>
                        <a:t>95%</a:t>
                      </a:r>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noProof="0" dirty="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DP Harmonized Data Product for Gainsight platform consumption</a:t>
                      </a:r>
                      <a:r>
                        <a:rPr sz="700"/>
                        <a:t>
</a:t>
                      </a:r>
                      <a:r>
                        <a:rPr sz="700">
                          <a:solidFill>
                            <a:srgbClr val="000000"/>
                          </a:solidFill>
                        </a:rPr>
                        <a:t>Max Mustermann</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his status upadet is for testing reason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1.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95%</a:t>
                      </a:r>
                      <a:endParaRPr kumimoji="0" lang="en-US"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ITDYM-4319 – CDP MVP | RISE Program</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30.11.2025</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30.12.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01.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37291DE0-3B17-64EF-694D-7BFEA09BABB8}"/>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41F4EC1C-414B-E9A6-8EB6-817DFE3DB79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4B37FAD-4592-473C-B41C-EB7073C1E539}"/>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5EBB617-2F84-08F2-ABBD-D6E250AA9E24}"/>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5942F8C-DB2D-94AE-B9A6-17438C37848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7EDB797-7FC3-A727-D6B5-B7838CCB443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AD891B9-1637-7AE6-2B8D-CA9ECFAC6F3F}"/>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B824D3E-A3CD-A006-1BB1-BC8AF71FA45B}"/>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9E37715-8B17-EC38-8193-928F68916075}"/>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8BC9CC5D-7E11-5D77-2D7E-7A2630BFF958}"/>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7986B34-1F17-9D22-9F67-D80BC6C3D647}"/>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147591E6-B889-DEE4-FAFA-DCC6E9F9826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F6572FF-04A1-9363-C43D-2AC57946F5F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1ADD610E-BCED-41FB-D235-61CDD8453D1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AC3E2653-33C8-7AF5-82DF-03E1D02080E5}"/>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B09599B8-4A6A-3C7D-197E-D61EF90DC015}"/>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74BD2FCA-0AE3-2E6B-DCB4-C71C814A8CBA}"/>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86985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8A8-8529-37EE-143C-B7FC4AB3A7A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F24972F-AB54-C3DE-F1C1-F768A291BCA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E1677-B1DA-CE2C-344E-C8AD8CF436A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FC22BD7-FC0D-327B-1B61-1FA4313573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2007510-4714-9D4B-9E3A-0595E43C39B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C1272640-1CD2-8515-6B85-4E6FAD2537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99F493-16CC-F7D2-29AA-4A8BE4C8F577}"/>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AE1C130-86FD-F063-EE88-3EDCA08E26C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BE50468C-A872-D0C0-D83D-91762EAC210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5230D2D-5906-BCA3-AD95-CD1EB74C2D2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73A5EFDB-1010-5E36-1F51-A51E0F3DB286}"/>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D82157C-0B3F-9179-34F9-9B11727BEA9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10B0B6-2B38-DB57-8B66-5B0913F43E5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ED0FF8C-5E70-2455-87C3-2A5515D8237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D3A966A-FBCF-63E5-34E3-4ADC6C89B8E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BDEFB9A-6142-344B-D96D-D2AA944036F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3BA972A-3483-0312-2C5B-0F635B84EF4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2F953E-1FA3-5F69-7179-268FEE5BB3C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1FDA665A-9545-5430-6B7E-64B1A917377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2F6978D-0814-B8AB-90B0-12303752F2E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EE381E26-4AB1-2393-C26E-01FA407CCC1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CF28DB-0207-3836-C8D5-95FFEA929F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EF8AC2D-7E4D-31DB-61FE-406999E662D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0A9D7D6-42BF-E981-AD30-6E88908CE7E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9C7F85-BC68-0ADF-5706-32073A767532}"/>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58313201-D03D-09E5-CE25-0B6569A1160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DF18A85-91B4-D34F-8ECB-1151B9238DE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2182A37-A19D-C5AF-12C6-D7F4F7B436E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F095E83-8117-5A45-21DC-B1CA4E347D5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61C7BF6B-4BA8-A2CB-362A-71D219E1561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BAAC8DA-7173-010F-75A5-40CF38F9C9E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71685A4-0128-CC08-6E54-6B4AAF618C7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FCB0E13-E6B2-7A17-AFF7-75F8F9F50DB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AA9C8CE-A354-013F-46B1-C4F620003F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DFBA126-5905-A5E4-642C-DCE23F48093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D3221814-F100-4E7D-C863-F029DF37546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76DE9D3-33DA-7819-20E6-5E8ED427C48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C096C75-7849-58F4-8196-448B42C824E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F9B797F-09EE-AF76-2EAD-3AF5D8A54D51}"/>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247A82F-0317-78E7-6366-28A2642E4CE8}"/>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F824979-D6E4-1DD9-585B-0E9B8669EF0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D28210D-303A-6422-664F-5728459F9A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4E8B4DA7-6B8E-DE25-C4EE-E474D75065F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9B7F4A6-E0F0-F7A5-9253-63059FA1DD2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B4AF6AB-AE6F-2325-5466-9A841A907E7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94D0E89-5B62-4660-EB08-52E2CF35937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73329D5-234D-8A15-DE6E-555CAA11590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203B559-A888-42C0-1BDB-36D17208DEC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B35D5C2C-D51D-9158-F585-5301AB386FC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D74A20A-DB2A-7B65-3AA4-805C10C8337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0B0BDF2-1749-89D1-BB14-A838CAFFA3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440037C-B7EC-7767-BCD6-59B77D21896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331220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B11E-8A4B-5352-1D21-7BC10624A03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C6F3B783-4A5B-88AF-D6E1-B9A5F309413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54701-ED50-5105-48F4-AEC0F7D3AC29}"/>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690BD2DB-C6CE-82D8-A49E-EFAAA0FDF92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DF86B35B-0AE7-0346-BC5A-597ABF08B17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6FF09304-C0A0-7FF0-58F4-BB400341F18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F0DA2B-1367-5BE3-0C75-EBB3DCB7E8E5}"/>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2D97EEA-484E-7D44-2E93-0B99B476EF82}"/>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08AC551C-B97F-BA3F-1FB0-88071DF222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28DD5AEA-DAF3-E32A-F1D2-ED278FC50B5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53C97A8B-BB55-3D74-FE96-2AD690E2D8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9597906B-CEBB-D714-15D3-B089ED9A2A5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04B4C1E-53C4-C2AD-AAB6-9B347D178115}"/>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035BFD-8137-FA59-56E8-F82163271F5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4FEFC71-6307-15D9-9EDE-4C364B62F96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A5A9FB3-356C-0271-07B3-61FDBD720748}"/>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43F0829-DC5B-A8A7-E44F-A8F5349B65A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39C04F3D-D408-FDE7-6494-1E28B121719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E82B982-5750-CE20-2817-E5D282B077A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50FEB9B-116A-D578-1F60-A26136C237D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7379746-885C-DC4D-375D-5B80F77BE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436D28F-42BC-0B02-4E32-2D12D1D1B6E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505B5D3-4338-2E8E-B758-B34BC25D20D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B0BC875-FA19-6A2A-825B-C6B7FB0DBE7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857386-C037-CC4A-3580-8F3F4CD6322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21360EC-D325-AB5D-D241-11C711D7585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43B6D41-FABE-BC6E-7EE7-1436B82F95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6E1DB66-E706-74CA-240C-527970D4ED5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C1BA71E5-0ADB-D13C-110A-14AB549A3CB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408E95D-D8F1-6031-EBCF-0B53AF2C352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5445CD-D5F6-CFB4-F99A-4DE8B2DB5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3C39E0B-499F-E5B5-D64F-DA22C19A0F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DE65EFAC-B6E3-FFB2-EA5C-6F8F9B4F59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A6137F9-6833-70D0-672E-86E870E5AD8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81C94F-6F2A-0384-90C0-530A211ACDC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4198838-A69F-6F86-C73B-787402E8C0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FB0DA33-305D-87CB-3E4F-CA7E27A2E2B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B4B0D4F-D46C-E4EA-F6D2-999CDD2ACC4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62CF57B-9B34-0B05-22CE-3EEFEDDB7FF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A584E40-D4CA-BAA4-01A5-9D121CF0381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DC4B561-E337-6588-4338-452F4A0C602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742104E-CFBC-4DD7-7425-084A4C36750C}"/>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BFE421A-AD1F-F84D-E6CE-D2288A82F6E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A67A714-F74A-8B65-CFDE-A9B0F1B5F50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5BB30676-8648-F156-B722-621E513E76D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10CB27D1-40C2-1300-D6EE-28D174957C3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4B521311-93B8-C1A7-CDAB-E2AB41C1CA9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847F0D5-E9BA-DAF5-3F23-A93B89A2529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B53A0CC-AA45-05D8-9FF2-724B2CE2C14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8C31784-563E-A624-20DD-6A815D0D7BD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2A01E11B-2212-F293-E1CC-E3C9BC62E0E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DED24A0-2FE4-1B16-C412-C9EE7169537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362110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0AEEC-30D5-257C-934F-8E459030EC4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44D85FE-1356-1659-6461-0DF347A51C4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95E132-6DD6-4281-5F95-CED9806C2D7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46674A39-B1C4-3ABF-F81A-83A906D8862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57E8511-13E6-7D9F-6C19-40C859677639}"/>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41AFD235-279F-38A6-5A2D-44F4DA74008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83FF3C0-9F79-3025-9DA4-C7DD390EE0A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5E2A1A5-C12B-D9E7-A7D7-3D73FA62E5E6}"/>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FB939A79-C732-D4F0-A08C-A8EA06B69CA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5E97D90-1CF1-2C3C-AF9A-297444EEF77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0D7E2968-F2D7-1A7F-DDD3-B4636B01774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2A58D1C-AA3B-71D1-00BC-9769A5F45A9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512C0717-D64A-9125-E5A0-057E4628883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2E59796-23A8-2E48-0F61-5B4DE8F8D4B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6F85C13-449F-90BF-5181-1EE0DC01726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572C08-DE15-FBC7-1745-881E99E508F0}"/>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F748D35B-4BAE-63F3-FF95-A49698590678}"/>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B3A9FD-4BC0-22F7-A923-2E0FC67A8B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557F07-B844-0AA2-1543-F88E6C81360F}"/>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A2EE26C-82C9-DBE3-0EA1-A129140AB96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CF7D7DF-864F-011F-0963-9208AF3F5ED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67D30667-5CC2-5C3E-37A4-957BE803E74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E054D81-E5AB-F42C-4E22-8899CE6B695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DF9EC45-D313-48AC-EE45-24E9B8E55C5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3DFA23B-A24E-71D6-60BC-42A698A3EE3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733-4973-E5A5-08FF-20229E6D475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7F7649D-9DA8-C43C-2E47-C26832DF05F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EE15689-C3EA-C30F-0DAC-BF7F817AD85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862AD5-B852-50AC-D644-405F7E30C74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0B9AF9D-DCDF-FE6F-F335-18414DF338C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8381086-78C0-12DB-C830-5813F981C77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968B248-4975-A551-36F8-4A011F2B176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65158A37-D653-D539-2040-1F1DAB3EE3B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B90D63BD-E5D9-D832-265F-7231601ACA9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793895F-3EF0-DFCA-9C63-4EDFB203ED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8056D0-CB6A-E3A4-852B-A402CA713D7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7273040-DC07-9FF5-4C82-405BCA0CF62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9FEC756-94D2-31CF-A355-55F88D009DB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135A8DC-49D0-AAE8-C96A-F313D626422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8749F9A-ABF0-E609-41D1-61E45247CD39}"/>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B679289-EF3B-3830-7700-D8C88EC89D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5E50B98F-CCD3-0874-07B4-65CB0B3B1855}"/>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0DEBC52-15C2-E85C-414C-67540C5B185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BD22181-F36F-239C-B4B6-2B651FCB3A2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AA2688E-AEB3-0AEE-49B9-A168B99919F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B556C41-F43B-65CA-AF4D-8083EECA1C5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9DCF917B-7C6D-E5CE-8E6A-D7CAE61A3F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CB69FCC-091B-3E9A-D966-69AAD9F4548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332F6C5-1D62-E34E-FB68-512AB0962E5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8F864B-A739-2AAA-0AEE-8E61EC04085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8B1D95DB-62D9-6F3D-3EB3-2ABF73160A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1AB8633-4A90-904D-9F51-440300E0B7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17522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54068-B11E-C520-F9F9-7201F215FF9F}"/>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95D110D-9465-7172-24AD-8B04C394F48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61FA2-8592-63B7-A69B-9C96B5C1DC75}"/>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BA8BFF0-0BA7-84C8-42F1-6FB3D0722884}"/>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6147191-1BAB-1C76-64A1-15E9921DAEAE}"/>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DA5BEC16-D76D-1D7D-2058-4E67A5B50ED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D42EB30-6D8A-277F-B689-AC7BB4AF558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23A1211-19A9-A8B3-6334-E30AE5C315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957747A8-E85A-BC36-FAA0-E2F1DCDA6E3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422BC2E-AAF9-0BCA-9B14-0E7DB02C4C3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89941F87-F4DD-E7EC-337B-6602D874CF0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FB680331-47C8-2445-D9BE-0830DAF6594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2987AC6-C3D4-81E2-9086-906EFAFE5A72}"/>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00B363B-EC74-6F96-AAFE-295FF5B8860B}"/>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9088C7C-126D-8574-BFE7-5A8C2CF6E9C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1C19F19-DE75-6FD9-5E62-5AE153547D87}"/>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CFD5EDF-BBC7-2667-223A-04B76D1D9A4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6DC8D3F-B20B-7330-4AC9-59055A8E2D5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C67BDE3-A77C-4880-79AB-40E1BB162DD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2A0FD9-3E2A-4B68-7FD0-811EC16106D5}"/>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DA604AC-236E-F23F-281C-A87C7A811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D66BBA-876B-9E8A-9093-94AD6EB4929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94C174C-6886-9FFB-99DE-599623AA508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D728392-EFD0-D444-6F25-7CD1DF1616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AABD8BE-5625-49A7-1973-F1196F23A1C8}"/>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087CD9D-28A3-9066-15DD-E402A61F7E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6194853-282D-463D-5C82-3DBD40A1AC8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09732F70-D5A9-8DE8-85AA-0BEEFF5DE1D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1C3B2A07-3A82-1D9E-2127-30E519793A9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D0D46B0-3B38-501D-BBED-731B29C4584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AC36D9C-A45D-C96E-F75B-719BC8745D5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7BAF7C3-D27B-4C4D-6702-D695A353E05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04BE218-1E42-DFD2-4D26-16921569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6EC8625-B085-23B5-1EAD-95156063FE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7F65020-63DF-2C9F-9A0F-FB630620505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BAAB35C-9E9A-CB02-2AD8-52BAAF87423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E6389BD-3346-FCA4-7935-E05A2524DC0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C914E752-24A2-A5BA-2C33-BBCBC99E820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662F191-47AC-DA69-9164-A68E652E9A1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0257222-9BE1-AEAB-AD66-C81C0F40941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F55C489-DBFF-EB8D-D502-376E8FA1D2C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88C12C4-2418-3B1D-1622-28D55AACE47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8A4639B-3E41-1035-01FC-3EFC733BF7E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225C350-C77C-AD83-29DC-2FE48AFFAD5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19ED81-9F57-5240-DB2C-A435FC2B723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BD2F99E-71EA-FBCB-4047-E315D6F5E1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838AAB6-1109-9C99-1AA7-BAA57EA37DC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986F519-ECA8-2835-659D-87F317C9B5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D888B60-2D65-C309-2364-5B752F1E41E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1AAC896-9A62-8145-2531-6192C2EA72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12A6E6D-A0D9-7316-91D5-C1FAA1D6528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D9BA212-D61D-538D-87DB-42A9D7EA3A5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85531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71628-F0E1-29D8-01C5-836AA91382D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FB880D7-F706-BE39-BF86-4F553873C4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156ABD-B0EC-FCBE-CF97-C63D38D37AC6}"/>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E9976493-2937-3099-DAC6-206C29AD83F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6477744-DEDF-5222-C343-A9BF64290BA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4712BA43-D5F2-FBE7-0BAD-591935C3313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25066FE-3AAE-E805-502A-EEA35DB2F1DD}"/>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B84860-DCC3-EE24-4BBF-B2CBF91851E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925EBD2C-01BD-D282-7A23-189908CD627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636027C-B37B-1A09-9801-1551DE4E1F27}"/>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7F8416CF-4E12-0DF4-413D-45CF5D86B2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9343AEA1-132C-6604-DC62-9809DED9DAE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E285749-0193-60A4-FFAE-A71BB6B5B42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50F1CD-9F47-F831-AA8F-8E0AECA6DC2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14A4EC7-FB80-66BE-1F1F-88339A64C7A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8CF112E-584B-DB0C-40A2-EC3BA062075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ACFB4A1-C877-C481-7EC6-1577D9A72AB5}"/>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1013185B-97F1-6B01-47A2-34477001EB7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D2C196A-0E7D-D637-CF82-45299746C46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FA75B50-BB14-7456-DB9A-630914E2FD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AA4DCAB4-308D-FC2D-8949-1A3A23B392A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0473BD0-4577-1B48-7EF2-FFEA1747EBC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8735886-2DE1-2293-89B5-64AE9A9D3E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748D278-F689-447A-4F58-37A6EBE20EE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DC5EA0C-A105-58E5-72E3-609131CC101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0694A31-C3F3-AD23-2105-5ADF81FEAB5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557B4FF-7E48-C5E5-746B-A37C8FC7480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C761B32-2624-DDDF-5828-2CE3F7A6BA4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D5C896F7-B0B3-718B-9D9B-D5E92F351BC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E03B79E-71FB-0581-4D9C-543881BAE3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B29B3D8-A607-5BA7-05D2-46BA0D28614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DC2428-D08D-24BF-3C89-BC9561F3F2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17D49CEF-312D-8B60-3D5F-4E9288F5B61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B122F92-7CE7-EEA3-0E7A-FC14BD0CBC8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286F73A-A4B8-F0C3-83A9-E4C4BEDF45E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60B9AF0-70A5-8490-4793-3A96193E3C9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A28EF64-33E9-50B2-EAE2-83DE55F672E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C24CE6-B4AE-3C86-CE78-9950731F539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54976CC-61D1-A9E2-C3C0-28FF364F83E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5EC71532-DF0F-B9AD-F949-4A46C89838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57B4D64-C339-96AC-8B41-FAC9CDD52F6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9282799-FDA9-8E00-B0AD-A80200A8DBD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7FE44FB-3558-2A29-CB42-F47B40E91FA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695F98F-B049-5E4C-EE4E-759523CC87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4C07FAE-058A-ECBC-B5B0-5EA652F1E7B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11E7CE9-9ECA-3FF3-CB0E-1E084FBD3D5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8B47AA8-77AC-5FD6-F4AA-5D024A0E4D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FCFC471-0706-99E7-1F56-D3BDB9073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F07B72C9-88DC-5372-AAFA-2D683E78DE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8251025-BA25-AC4C-9ED9-F0535FDC514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8245A86-C6A0-962D-A9C7-1DDCA2FA0B5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1B16E7A-5ACB-68FB-52AC-B29D2E5C0CD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69579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61778-FCD4-C063-8A09-1B2D6E19255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0314A4C-A7BC-3DAC-92A7-189C1D909D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D7395-205C-27DA-AE41-7B4853B4904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546B3D53-590B-6523-0CD1-F4CFFFFCDFE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6080C84A-4317-21CC-65F4-78A618240D1A}"/>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BACE19B4-337F-F206-B4D6-424E1608912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6F12D36-DBB9-A6DC-9590-B2D7E26A5439}"/>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C41B9E3-3617-22BA-FADD-EB2E0A1C5F0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3D9D6E01-A22E-28F3-04D7-8E921CBD5A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80B6F5A9-5D0F-DCCE-DD18-5C61387F3EC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8626EE02-39A7-C1FE-B490-8FA759E0E9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3AD0FB4A-410E-CDD0-CC59-D9B132B9B1A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8BB6CFC-C940-426F-1354-0C83D736EB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585E376-E440-5E85-FC54-704B5A809A4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343AF6F-286A-1F4E-12EB-63CFBE4DA232}"/>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35C817-B914-0FD2-86DA-81EE7545E9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4A925F4-4AF0-10A9-4761-BB168E6765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1A53D71-5FF1-E2DE-C597-6A56CC10A60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D0768B-078A-35D7-4A4A-0D24216F96C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7EFE3A5-7C93-A3D0-78D0-8E4FE51E971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E05977C-D1CF-303C-EE30-D2DC5EADB90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93F016F-3C1F-3AB2-3136-CFB78839EC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9E539B9-B5E7-3C89-3D33-4650E1EA69CC}"/>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A4A6F53-6CE3-5A40-6C7D-B7BC240B50A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25353A8-D280-1862-E69D-5065C3E8CB5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BD8F075-A8D6-1A2E-C802-5E6F1B700B52}"/>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96C5185-0D78-1281-9F86-3CDAF2310CE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D9740E8-B6FA-ECC2-9DF7-99F6BE7162C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D0B58B0-3916-72C8-0D54-5BA853AA5124}"/>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8274183-61DC-6E52-E5CF-C2C771C23B5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D708B94-926C-26C5-4BC3-AD073E962C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DDA4A2AB-58BF-2394-E458-94B99A95CD2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1B9F6AE-C4F8-7EF1-625C-228C42AC70C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AB85FC9-013F-8159-F534-EA9A19CFF9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F5DE66BE-98B7-0558-B3ED-566FF27A1E1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C8311F-D9A8-7E68-664A-79D1038A1E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A5A3399C-C7E9-4A89-2CA2-A62B2BD6ACE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C32CB5D-780A-D8D9-E73C-9E1679AF8C5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2D38C99-2B3C-597B-B856-2DE3114059C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9A327E84-C2C6-F796-0B8B-BBEE250ED1F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8B5AA47-903E-8969-CAC6-50B481983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E7B0676D-8DB5-59AD-91B1-A82EB826F17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754D790A-4B1C-6D0D-9CAF-BAAA19E9EDB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BE1A8B1-9BED-56A9-0EEF-AEB8ACA496C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275A32-AF56-1399-08CF-0D9CD50BE1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678F5F5-EF9D-A4DC-7AAA-BCA22AF5E0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55CC7A4-BD1D-58FD-75AB-9A6640EFA6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757C5E19-562B-EC90-BB88-1E4C3D647B3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7C045F-15A6-DCF9-45F5-9485AB23A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11C30D8F-8EFB-B176-8542-ECEB33B21A9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9EA276-9456-9DAB-EFD0-395B15943F5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34A56A5-731E-CF8E-C536-BCCF1532FB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31057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E2985-A1AC-FD1A-B30A-AA00C88481F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9EFCCD0-3A33-5334-F18F-04869905F92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903C3E-990B-34E7-74F9-94F98ECB464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903FAF-324C-4248-7261-E7E7CDB3B27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445C0B1-55B2-9B09-EDE0-45C7C834B7D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FE75DB4C-6958-5873-E6C8-B354522691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7CE66A53-59D9-D7DC-69FC-8AF957C3E6C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6C4FCF9-A734-3BEC-D9C8-EC7EB070648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F5CE2EF7-4C1E-E0C9-AB53-7195308E12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C1ACE5E-EF2C-6767-C1AB-84865A974D4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9370C66-1383-D815-AE78-D6DB71A14F2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08C85294-9A73-53BC-EFEE-33DB25D7757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4FC4BDFD-E2AE-6096-74A4-9938F6D8AF1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DA029F-8E44-43F5-B242-E3437133D2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EFE00C8-B67F-3973-3D7D-CE992AEC4B8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A1F9238-F3C9-C246-7ADB-FAAABC616BA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CA6BE9B-36EF-BABE-39AD-7407B54D566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F67BB8B-9F18-E2F5-8BF4-5276BBC9C54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1D95549-DBD8-4861-A7A8-45F9739655F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48A379C-43BF-2BC3-C121-63D84EE27DA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F356E0-45BF-9521-19E1-1ED94CF3BF7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247AA21-778E-EB1B-4F44-33F6667F32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4D911DF-7E01-E4E3-2764-6F1DB51D4E87}"/>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093FDB3-539B-ED53-B22A-7EEBE83B9BC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90FB3C01-AC68-7590-9724-AF412BCE770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A914E91-6BC9-260E-B8B3-F7BDCA315D3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0EB04CF-F845-0E9A-FC77-41D487BE56B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C88A6BA-EBE3-7737-77C5-62213058CEC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9045D03-101E-166A-7E84-B1F840891EF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EF81DF9-2F4E-ECAF-A099-E166D580546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88C7EF3-3FE7-9F8F-1922-98D3C83B6BB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075103-2190-865B-66A0-C108A68A8C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A250B49-D11B-9533-80B2-BCEAB315448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86DFB17-D793-B23A-4D59-40230673CE7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3A0868E-432F-9517-8B33-5BC0EE9A828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1CCB6E8A-15D7-383C-DB4A-FD624B055C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0126FEC2-6BA3-44EB-9D55-AFCD08F3AFB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53B6FC-ED24-635A-F780-55C5ECA1960B}"/>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EFF2147-1AA1-6316-36AB-04DADEAC32F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AEA7D23-9076-3BEE-477C-83F12710E9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19B7EB8-2F5F-B431-A91B-2E5FCF2DD8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E74BE86-E59D-2769-3441-9724EEEAB040}"/>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D91FD84-E2BC-F75E-0302-77D4626E1CB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09653A6-089F-4EBD-162D-C2C401BDBE0A}"/>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EF28D6F-34AE-6654-C7B7-538AD0F6882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E3A6A43-F59E-1325-F5D3-B4252C98F97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A1C9320A-D8A7-44AA-F481-1FEF709B362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1E299E2-E0D8-F6F2-F2B0-E4260B1E5CA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E76EB61-BF97-CBF8-7D35-E4B0C3A47FD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FABB840-4DC6-73EF-5492-1813A5B254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3FCE34DD-3E9C-B797-AAE3-6C1C2865AB6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5E14409-D575-723E-AA8F-B38B78047E17}"/>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44213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342C-A0B4-C2E7-A9F5-5A8EB5DD416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CDC286-2443-05A2-C361-F93A0F4D32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8E50EA6B-0B29-28AA-2B8E-071BB0D68E86}"/>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30FD4A99-9AD2-B472-9EB4-E9AE145B0B59}"/>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199FD094-895B-59E5-9B76-780736E615C8}"/>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D0615320-02D0-9BEF-C7BE-DE5E2900677E}"/>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952F0F24-5D25-6F13-53C6-8C3A7616E8AB}"/>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E13F69A6-71BB-B628-67BE-787757A90A84}"/>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E80470B-E50D-A2B2-8194-9E5050B7A237}"/>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726ED335-0B0A-F7D9-15FD-F45048454E54}"/>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4B12264-664D-D515-77E0-C72E1CF166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87C0D4B4-0B64-3F8D-1C01-30B4EC52529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54CB3C6-4CAD-BBA0-34F5-27FDDA733C2A}"/>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C38AF4A-4B8B-2677-B8EF-71E872960713}"/>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93FC751-AE96-F1B1-121E-9D4C36D6D5B9}"/>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863C1A7-5DE4-4C9D-EEBB-53F3246BE8E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CC186444-C743-B7A0-A84F-EE1CB1CA7734}"/>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18829CF-3146-56FB-3085-331A90D2BB63}"/>
              </a:ext>
            </a:extLst>
          </p:cNvPr>
          <p:cNvGraphicFramePr>
            <a:graphicFrameLocks noGrp="1"/>
          </p:cNvGraphicFramePr>
          <p:nvPr>
            <p:extLst>
              <p:ext uri="{D42A27DB-BD31-4B8C-83A1-F6EECF244321}">
                <p14:modId xmlns:p14="http://schemas.microsoft.com/office/powerpoint/2010/main" val="3248114010"/>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5871EC61-AFCF-CD04-AFDB-89DD2A7A8720}"/>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7D5E9423-BB5D-B0B3-6C15-C6B325AB3DD0}"/>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EE3AF074-FFD9-0C27-F8F5-603B2421BAAF}"/>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ED27E7E7-A33E-C450-361B-F924849617E8}"/>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646D16C5-DFCF-956B-515F-B3C0A8D28450}"/>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B1A549C5-6E42-1845-5713-6961BF0780BE}"/>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178F965F-B863-5222-25EF-B87DF4DBA240}"/>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3AE5D2D2-CB0E-842D-16CE-127C21D9265D}"/>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702B0D9-1FAE-6E6F-DE80-A92DE8619309}"/>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2B53D44-439E-71DA-3298-B97DAEDF9470}"/>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6417FAD7-31AC-3F9E-00F6-87A5C6B1DC52}"/>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3F59659E-B8BD-E01B-A240-C154C65905F4}"/>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45322F2D-5BFC-12B5-B978-F03B8AAF32D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42832CF-F615-15C8-6832-1E43429A4500}"/>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CA72C989-DBDA-1707-D5E5-62B131847A9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6A8C079-3411-8154-E0E4-D3E18D59EC21}"/>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438FAEE5-A650-DB8F-6747-9D121E958312}"/>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44333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extLst>
              <p:ext uri="{D42A27DB-BD31-4B8C-83A1-F6EECF244321}">
                <p14:modId xmlns:p14="http://schemas.microsoft.com/office/powerpoint/2010/main" val="1422420488"/>
              </p:ext>
            </p:extLst>
          </p:nvPr>
        </p:nvGraphicFramePr>
        <p:xfrm>
          <a:off x="474631" y="2071726"/>
          <a:ext cx="11215722" cy="234460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4636  – C4C Integration in CDP Inbound</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Krishna Angurala</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mplemented fix for mandatory job title and C4C guide mapping
NGCS E2E tes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dirty="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9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8344 - 360 SMC Contact Fact Sheet Replacement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Carol Marchesy, Nitin Singil</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tarted in Sprint 4 (Oct 20), collect requirements, then check feasibilit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7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br>
                        <a:rPr lang="en-US" sz="700" b="1" kern="0" dirty="0">
                          <a:solidFill>
                            <a:srgbClr val="000000"/>
                          </a:solidFill>
                          <a:latin typeface="+mn-lt"/>
                          <a:cs typeface="Arial"/>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dirty="0">
                          <a:solidFill>
                            <a:schemeClr val="tx1"/>
                          </a:solidFill>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kern="0" dirty="0">
                          <a:solidFill>
                            <a:srgbClr val="000000"/>
                          </a:solidFill>
                          <a:latin typeface="+mn-lt"/>
                          <a:ea typeface="+mn-ea"/>
                          <a:cs typeface="Arial"/>
                        </a:rPr>
                        <a:t> </a:t>
                      </a:r>
                      <a:r>
                        <a:rPr lang="en-US" sz="700" b="0" dirty="0">
                          <a:solidFill>
                            <a:schemeClr val="tx1"/>
                          </a:solidFill>
                          <a:latin typeface="+mn-lt"/>
                        </a:rPr>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lang="de-DE" sz="1000" b="0" i="0" u="none" strike="noStrike" kern="1200" noProof="0" dirty="0">
                          <a:solidFill>
                            <a:schemeClr val="tx1"/>
                          </a:solidFill>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rtl="0">
                        <a:lnSpc>
                          <a:spcPct val="100000"/>
                        </a:lnSpc>
                        <a:spcBef>
                          <a:spcPts val="0"/>
                        </a:spcBef>
                        <a:spcAft>
                          <a:spcPts val="0"/>
                        </a:spcAft>
                        <a:buFontTx/>
                        <a:buNone/>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83526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extLst>
              <p:ext uri="{D42A27DB-BD31-4B8C-83A1-F6EECF244321}">
                <p14:modId xmlns:p14="http://schemas.microsoft.com/office/powerpoint/2010/main" val="509009577"/>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a:solidFill>
                            <a:schemeClr val="tx1"/>
                          </a:solidFill>
                          <a:latin typeface="+mn-lt"/>
                        </a:rPr>
                        <a:t> </a:t>
                      </a:r>
                      <a:r>
                        <a:rPr lang="en-US" sz="700" b="0" dirty="0">
                          <a:solidFill>
                            <a:schemeClr val="tx1"/>
                          </a:solidFill>
                          <a:latin typeface="+mn-lt"/>
                        </a:rPr>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endParaRPr lang="en-US" sz="700" b="0" dirty="0">
                        <a:solidFill>
                          <a:schemeClr val="tx1"/>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83345"/>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937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48746-7D9A-8225-7F4A-ACF3BC6A1AB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29A6A4-EC3D-AA9C-EFA2-C175334063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29A6A4-EC3D-AA9C-EFA2-C175334063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E0BF856C-1AB9-CDA7-B31E-E48EEBF861AE}"/>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05E96B47-B32D-1CFA-C7D4-797E92CE138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9D14323C-E61B-CEA3-3379-50DD111D870E}"/>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42EA592-918C-9D77-7E9F-05ED56A9266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89DCE98A-5993-1489-7286-DDF9174E860C}"/>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8B48997E-046B-19D8-5F21-36AC8ABF5086}"/>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F81649D4-0F0F-D596-264C-31C0955988E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3BB05BEF-1F3F-98D3-6101-AD0D3896FE8E}"/>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54A894F7-D469-54A5-DED6-D68700ACDE95}"/>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DDF8CBC5-7F27-AB7E-6F50-873523540EC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75354380-9D91-5F8E-EC2F-BABB0CBEC8A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9A0E74FE-8E0A-0E75-000B-FF482E447390}"/>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DE3B4A9D-4EB0-7C6C-4A69-27A96277FC76}"/>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E75F8D5F-D135-00B2-B8D6-ADB0E82D9CB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19721E4-9C9B-570F-DB42-37D99A9B4FC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F046F7DF-F13F-1009-2235-6DE3793ED5AA}"/>
              </a:ext>
            </a:extLst>
          </p:cNvPr>
          <p:cNvGraphicFramePr>
            <a:graphicFrameLocks noGrp="1"/>
          </p:cNvGraphicFramePr>
          <p:nvPr>
            <p:extLst>
              <p:ext uri="{D42A27DB-BD31-4B8C-83A1-F6EECF244321}">
                <p14:modId xmlns:p14="http://schemas.microsoft.com/office/powerpoint/2010/main" val="3365313126"/>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SP-27120 - China CBDT- Long Term Compliance</a:t>
                      </a:r>
                      <a:r>
                        <a:rPr sz="700"/>
                        <a:t>
</a:t>
                      </a:r>
                      <a:r>
                        <a:rPr sz="700">
                          <a:solidFill>
                            <a:srgbClr val="000000"/>
                          </a:solidFill>
                        </a:rPr>
                        <a:t>Tristan Rav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his is the latest status update for test purpos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9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a:solidFill>
                            <a:schemeClr val="tx1"/>
                          </a:solidFill>
                        </a:rPr>
                        <a:t> </a:t>
                      </a:r>
                      <a:endParaRPr lang="de-DE" sz="1000" b="0" i="0" u="none" strike="noStrike" kern="1200" noProof="0" dirty="0">
                        <a:solidFill>
                          <a:schemeClr val="tx1"/>
                        </a:solidFill>
                      </a:endParaRP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045F789F-1F63-8E94-AF6F-8D70AF146CDD}"/>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12D5D20C-EFD6-7C7B-07D7-DD9565355793}"/>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002A1BA9-C0B1-BB9B-21F5-6A1FAEA6364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47E88AC9-AD94-88B2-D481-51E5FF112DC5}"/>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BEFAEA6F-268F-88CF-717E-0023C04EF641}"/>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Compliance – Status &amp; Use Case Heatmap</a:t>
            </a:r>
          </a:p>
        </p:txBody>
      </p:sp>
      <p:sp>
        <p:nvSpPr>
          <p:cNvPr id="2" name="TextBox 1">
            <a:extLst>
              <a:ext uri="{FF2B5EF4-FFF2-40B4-BE49-F238E27FC236}">
                <a16:creationId xmlns:a16="http://schemas.microsoft.com/office/drawing/2014/main" id="{943BC5D7-3FA5-C2F9-AF8C-763AF42339A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9051E18-7391-4564-AFA5-8999AFC7DE6B}"/>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BA39FBE0-9F7D-F72A-4E8D-2CF563AB4553}"/>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001F466-1007-090F-8C77-896AE29A21AC}"/>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C56A9935-8CBC-EE20-A246-37373BC5E7D7}"/>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C83F0AED-38A6-81E1-5A1B-900EAC2A46CB}"/>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FDE69850-D601-EA48-9EF9-723B51C6410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AAACEC3F-7814-6564-BCA2-5386202D29E0}"/>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5EE6DE0-5509-E24C-7AB1-2BDB849F5A8B}"/>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E167CA-BCF3-5261-5DFA-325B0590845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A8AB949A-5031-BFA7-08FD-48EC10B71B1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908AA9CA-F2E0-7402-2476-5DBE2A44E181}"/>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28950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extLst>
              <p:ext uri="{D42A27DB-BD31-4B8C-83A1-F6EECF244321}">
                <p14:modId xmlns:p14="http://schemas.microsoft.com/office/powerpoint/2010/main" val="2699008667"/>
              </p:ext>
            </p:extLst>
          </p:nvPr>
        </p:nvGraphicFramePr>
        <p:xfrm>
          <a:off x="504001" y="2036224"/>
          <a:ext cx="11242624" cy="3070722"/>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SP-27065 - [PoC] Move classification Logic to CDP</a:t>
                      </a:r>
                      <a:r>
                        <a:rPr sz="700"/>
                        <a:t>
</a:t>
                      </a:r>
                      <a:r>
                        <a:rPr sz="700">
                          <a:solidFill>
                            <a:srgbClr val="000000"/>
                          </a:solidFill>
                        </a:rPr>
                        <a:t>Semal Korzan</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contingent on development of CCRMS (Country Compliance Rules Management System)
Call with Data Protection team necessary to refine requirements and timeline – took place
Data Protection team implementing CCRMS system in progress, Integration of CDC started in parallel by EDT
Carol: contact schema for storing consent data from CDC (alignments in progress, Carol to check what they need from us)
Implementation of CDC – CDP integration completed. Next step: E2E testing in sprint 4, invite will follow
Carol to provide fields</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2</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DP Harmonized Data Product for Gainsight platform consumption</a:t>
                      </a:r>
                      <a:r>
                        <a:rPr sz="700"/>
                        <a:t>
</a:t>
                      </a:r>
                      <a:r>
                        <a:rPr sz="700">
                          <a:solidFill>
                            <a:srgbClr val="000000"/>
                          </a:solidFill>
                        </a:rPr>
                        <a:t>Pat Sep</a:t>
                      </a:r>
                      <a:endParaRPr lang="en-US" sz="700" b="1" dirty="0">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overalll status</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C8C8C8"/>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ontact Interest Intelligence (CII) Integration in CDP -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UC Owner</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In analysis (checking req. and acceptance criteria), started
Check feasibility on CDP side (Foued) ongoing. Started in sprint 4 (Oct 20)</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4</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800" b="0" i="0" u="none" strike="noStrike" kern="1200" noProof="0" dirty="0">
                          <a:solidFill>
                            <a:srgbClr val="92D050"/>
                          </a:solidFill>
                          <a:highlight>
                            <a:srgbClr val="FFFF00"/>
                          </a:highlight>
                          <a:latin typeface="+mn-lt"/>
                          <a:ea typeface="+mn-ea"/>
                          <a:cs typeface="+mn-cs"/>
                        </a:rPr>
                        <a:t> </a:t>
                      </a:r>
                    </a:p>
                    <a:p>
                      <a:pPr algn="ctr"/>
                      <a:endParaRPr lang="en-DE" sz="800">
                        <a:highlight>
                          <a:srgbClr val="FFFF00"/>
                        </a:highlight>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br>
                        <a:rPr lang="en-US" sz="700" dirty="0"/>
                      </a:br>
                      <a:r>
                        <a:rPr lang="de-DE" sz="700" b="0" kern="0" noProof="1">
                          <a:solidFill>
                            <a:srgbClr val="000000"/>
                          </a:solidFill>
                          <a:latin typeface="+mn-lt"/>
                        </a:rPr>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br>
                        <a:rPr lang="en-US" sz="700" dirty="0"/>
                      </a:br>
                      <a:r>
                        <a:rPr lang="de-DE" sz="700" b="0" kern="0" noProof="1">
                          <a:solidFill>
                            <a:srgbClr val="000000"/>
                          </a:solidFill>
                          <a:latin typeface="+mn-lt"/>
                        </a:rPr>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b="0" sz="1100">
                <a:solidFill>
                  <a:srgbClr val="000000"/>
                </a:solidFill>
              </a:rPr>
              <a:t>All CDP Foundational Use Cases are on track and will enable business adoption.</a:t>
            </a:r>
            <a:r>
              <a:rPr sz="700"/>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47052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extLst>
              <p:ext uri="{D42A27DB-BD31-4B8C-83A1-F6EECF244321}">
                <p14:modId xmlns:p14="http://schemas.microsoft.com/office/powerpoint/2010/main" val="3971684181"/>
              </p:ext>
            </p:extLst>
          </p:nvPr>
        </p:nvGraphicFramePr>
        <p:xfrm>
          <a:off x="504001" y="2036224"/>
          <a:ext cx="11242624" cy="296983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dirty="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8</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9</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0</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4177573048"/>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1</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929029581"/>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2</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065247632"/>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a:solidFill>
                            <a:srgbClr val="92D050"/>
                          </a:solidFill>
                          <a:highlight>
                            <a:srgbClr val="FFFF00"/>
                          </a:highlight>
                          <a:latin typeface="+mn-lt"/>
                          <a:ea typeface="+mn-ea"/>
                          <a:cs typeface="+mn-cs"/>
                        </a:rPr>
                        <a:t> </a:t>
                      </a:r>
                      <a:endParaRPr lang="en-US" sz="1050" b="0" i="0" u="none" strike="noStrike" kern="1200" noProof="0" dirty="0">
                        <a:solidFill>
                          <a:srgbClr val="92D050"/>
                        </a:solidFill>
                        <a:highlight>
                          <a:srgbClr val="FFFF00"/>
                        </a:highlight>
                        <a:latin typeface="+mn-lt"/>
                        <a:ea typeface="+mn-ea"/>
                        <a:cs typeface="+mn-cs"/>
                      </a:endParaRP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617040972"/>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lvl="0" indent="-178435" defTabSz="1088122">
              <a:spcBef>
                <a:spcPts val="600"/>
              </a:spcBef>
              <a:buClr>
                <a:srgbClr val="999999"/>
              </a:buClr>
              <a:buFont typeface="Wingdings" panose="05000000000000000000" pitchFamily="2" charset="2"/>
              <a:buChar char="§"/>
              <a:defRPr/>
            </a:pPr>
            <a:r>
              <a:rPr b="0" sz="1100">
                <a:solidFill>
                  <a:srgbClr val="000000"/>
                </a:solidFill>
              </a:rPr>
              <a:t>All CDP Foundational Use Cases are on track and will enable business adoption.</a:t>
            </a:r>
            <a:r>
              <a:rPr sz="700"/>
              <a:t> </a:t>
            </a:r>
            <a:endParaRPr lang="en-US" sz="1100" dirty="0">
              <a:solidFill>
                <a:srgbClr val="000000"/>
              </a:solidFill>
              <a:highlight>
                <a:srgbClr val="FFFF00"/>
              </a:highlight>
              <a:latin typeface="72 Brand" panose="020B0504030603020204" pitchFamily="34" charset="0"/>
            </a:endParaRP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029759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ITDYM-4319 – CDP MVP | RISE Program</a:t>
            </a:r>
            <a:r>
              <a:rPr sz="700"/>
              <a:t>
</a:t>
            </a:r>
            <a:endParaRPr lang="en-US" dirty="0">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elp accelerate customers to our cloud by demonstrating value at key accounts, particularly for key decision makers and influencers (finance &amp; operations)
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
Target RISE accounts in LinkedIn</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Market(s): Austria &amp; Nordics. Persona (“sub-IDP”): CIO
Segment: ECC customers engaged with marketing, no pipeline, with medium to large Maintenance Revenue Band (&gt;100k - &lt;500k [medium] &amp; &gt;500k [large])
TAL as of Q4 2024: # Austria = 153 Accounts / # Nordics = 149 Accounts (Denmark, Norway, Iceland, Sweden, Finland combin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Generate net new contacts (opt-in)
Among others, increase Ad, Web and Buying Committee Engagement, and engagement score 
KPI to be measured: 
Reach X% (penetration rate) into Accounts 
Engagement: Increase number, frequency and quality of interactions / X% increase in engagement and asset consumption rates
Generate X% new marketable contacts within targeted account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Nitin Singh</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ennis Flick</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4C8E3BE-485A-1C81-538A-42625EEB51D1}"/>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14606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469BCE77-A706-4621-B5B9-B230BE3B9846}"/>
    </a:ext>
  </a:extLst>
</a:theme>
</file>

<file path=ppt/theme/theme3.xml><?xml version="1.0" encoding="utf-8"?>
<a:theme xmlns:a="http://schemas.openxmlformats.org/drawingml/2006/main" name="1_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5A94DC29-6863-4507-BC9E-870BE1AB0461}"/>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 Id="rId2" Type="http://schemas.microsoft.com/office/2011/relationships/webextension" Target="webextension2.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TemplafySlideFormConfiguration><![CDATA[{"formFields":[],"formDataEntries":[]}]]></TemplafySlideFormConfiguration>
</file>

<file path=customXml/item14.xml><?xml version="1.0" encoding="utf-8"?>
<TemplafySlideTemplateConfiguration><![CDATA[{"slideVersion":4,"isValidatorEnabled":false,"isLocked":false,"elementsMetadata":[],"slideId":"638315636853042666","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slideVersion":4,"isValidatorEnabled":false,"isLocked":false,"elementsMetadata":[],"slideId":"638315636854156382","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formDataEntries":[]}]]></TemplafySlideFormConfiguration>
</file>

<file path=customXml/item22.xml><?xml version="1.0" encoding="utf-8"?>
<TemplafySlideTemplateConfiguration><![CDATA[{"slideVersion":4,"isValidatorEnabled":false,"isLocked":false,"elementsMetadata":[],"slideId":"638315636856348256","enableDocumentContentUpdater":false,"version":"2.0"}]]></TemplafySlideTemplateConfiguration>
</file>

<file path=customXml/item23.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binding":"{{Form.Classification.Display}}","visibility":"","type":"text","disableUpdates":false}},{"type":"shape","elementConfiguration":{"inheritDimensions":"{{InheritDimensions.InheritNone}}","width":"","height":"1 cm","image":"{{Form.SAPLogo.SubbrandBlack}}","visibility":"","type":"image","disableUpdates":false}}],"slideId":"638331234102547405","enableDocumentContentUpdater":false,"version":"2.0"}]]></TemplafySlideTemplateConfiguration>
</file>

<file path=customXml/item24.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2988716","enableDocumentContentUpdater":false,"version":"2.0"}]]></TemplafySlideTemplateConfiguration>
</file>

<file path=customXml/item25.xml><?xml version="1.0" encoding="utf-8"?>
<TemplafyTemplateConfiguration><![CDATA[{"elementsMetadata":[{"type":"shape","id":"8960db9f-55d6-4683-a7ef-5191a33a6538","elementConfiguration":{"binding":"{{ DataSources.Classification[Form.Classification.Name].Display}}","type":"text","disableUpdates":false}},{"type":"shape","id":"2adb6e73-401a-40c8-920f-314d5e045a9a","elementConfiguration":{"inheritDimensions":"{{InheritDimensions.InheritNone}}","width":"","height":"1 cm","image":"{{Form.SAPLogo.SubbrandBlue}}","visibility":"","type":"image","disableUpdates":false}},{"type":"shape","id":"19fd4b9e-aabf-4332-9e0c-96b627a7d3e6","elementConfiguration":{"binding":"{{Form.Classification.Display}}","visibility":"","type":"text","disableUpdates":false}},{"type":"shape","id":"aa57b900-42ee-45e2-901d-a9c467b9898a","elementConfiguration":{"binding":"{{Form.Classification.Display}}","visibility":"","type":"text","disableUpdates":false}},{"type":"shape","id":"690c104f-7e65-48cd-94b6-5b4d27d0d6fb","elementConfiguration":{"inheritDimensions":"{{InheritDimensions.InheritNone}}","width":"","height":"1 cm","image":"{{Form.SAPLogo.SubbrandBlack}}","visibility":"","type":"image","disableUpdates":false}},{"type":"shape","id":"ae30ed49-76db-405c-8e79-7aba1a001200","elementConfiguration":{"inheritDimensions":"{{InheritDimensions.InheritNone}}","width":"","height":"1 cm","image":"{{Form.SAPLogo.SubbrandWhite}}","visibility":"","type":"image","disableUpdates":false}},{"type":"shape","id":"c0ba914e-4f09-45b0-9f6c-35c8b490f42b","elementConfiguration":{"binding":"{{Form.Classification.Display}}","visibility":"","type":"text","disableUpdates":false}},{"type":"shape","id":"e1ff4155-3db1-4bbb-85a7-437eca614c8d","elementConfiguration":{"inheritDimensions":"{{InheritDimensions.InheritNone}}","width":"","height":"1 cm","image":"{{Form.SAPLogo.SubbrandBlue}}","visibility":"","type":"image","disableUpdates":false}},{"type":"shape","id":"1400d254-c5b0-49a9-bbba-c97223cc9af9","elementConfiguration":{"binding":"{{Form.Classification.Display}}","visibility":"","type":"text","disableUpdates":false}},{"type":"shape","id":"9dd02216-58b9-48cc-95b4-a4fb4fb97416","elementConfiguration":{"inheritDimensions":"{{InheritDimensions.InheritNone}}","width":"","height":"1 cm","image":"{{Form.SAPLogo.SubbrandBlue}}","visibility":"","type":"image","disableUpdates":false}},{"type":"shape","id":"17904262-8e98-4143-ba28-5ffff2b9dc57","elementConfiguration":{"binding":"{{Form.Classification.Display}}","visibility":"","type":"text","disableUpdates":false}},{"type":"shape","id":"24dda641-0340-42fc-b199-54e3bbe1e6c5","elementConfiguration":{"inheritDimensions":"{{InheritDimensions.InheritNone}}","width":"","height":"1 cm","image":"{{Form.SAPLogo.SubbrandBlue}}","visibility":"","type":"image","disableUpdates":false}},{"type":"shape","id":"99d85a1f-5caa-4f35-b7df-eb9703c96eda","elementConfiguration":{"binding":"{{Form.Classification.Display}}","visibility":"","type":"text","disableUpdates":false}},{"type":"shape","id":"bf92befa-b263-4404-9fe3-ef1335ee58ca","elementConfiguration":{"inheritDimensions":"{{InheritDimensions.InheritNone}}","width":"","height":"1 cm","image":"{{Form.SAPLogo.SubbrandWhite}}","visibility":"","type":"image","disableUpdates":false}},{"type":"shape","id":"ebe7628e-813a-484c-8017-e91ee33b1f2a","elementConfiguration":{"binding":"{{Form.Classification.Display}}","visibility":"","type":"text","disableUpdates":false}},{"type":"shape","id":"68c8689a-7a81-470c-8a82-d35a6ccb8b77","elementConfiguration":{"binding":"{{DataSources.PPTCopyRight[\"Slide 5 copyright\"].CopyrightMessage}}","visibility":"","type":"text","disableUpdates":false}},{"type":"shape","id":"787d00a1-4cac-4b81-b637-a99274574ec4","elementConfiguration":{"inheritDimensions":"{{InheritDimensions.InheritNone}}","width":"","height":"1 cm","image":"{{Form.SAPLogo.SubbrandBlack}}","visibility":"","type":"image","disableUpdates":false}},{"type":"shape","id":"ad4994d4-76c3-4624-9265-4ebe8c04ee95","elementConfiguration":{"binding":"{{Form.Classification.Display}}","visibility":"","type":"text","disableUpdates":false}},{"type":"shape","id":"f311321f-6dec-468e-bf1d-41970cf5b78d","elementConfiguration":{"inheritDimensions":"{{InheritDimensions.InheritNone}}","width":"","height":"1 cm","image":"{{Form.SAPLogo.SubbrandWhite}}","visibility":"","type":"image","disableUpdates":false}},{"type":"shape","id":"34991d23-440a-47c2-bb45-be4011253002","elementConfiguration":{"binding":"{{Form.Classification.Display}}","visibility":"","type":"text","disableUpdates":false}},{"type":"shape","id":"782e938b-415a-44f4-8cb8-5e36a066287a","elementConfiguration":{"inheritDimensions":"{{InheritDimensions.InheritNone}}","width":"","height":"1 cm","image":"{{Form.SAPLogo.SubbrandBlack}}","visibility":"","type":"image","disableUpdates":false}},{"type":"shape","id":"5343c1ce-9339-4eea-a569-6763265abadc","elementConfiguration":{"binding":"{{Form.Classification.Display}}","visibility":"","type":"text","disableUpdates":false}},{"type":"shape","id":"a0444597-b454-4b66-be2a-62ce43b21692","elementConfiguration":{"inheritDimensions":"{{InheritDimensions.InheritNone}}","width":"","height":"1 cm","image":"{{Form.SAPLogo.SubbrandWhite}}","visibility":"","type":"image","disableUpdates":false}},{"type":"shape","id":"a16dfd42-0de3-46c7-a276-e906e46a8fb7","elementConfiguration":{"binding":"{{Form.Classification.Display}}","visibility":"","type":"text","disableUpdates":false}},{"type":"shape","id":"468cc11e-ebc9-42f4-be65-89cdfb44a347","elementConfiguration":{"inheritDimensions":"{{InheritDimensions.InheritNone}}","width":"","height":"1 cm","image":"{{Form.SAPLogo.SubbrandWhite}}","visibility":"","type":"image","disableUpdates":false}},{"type":"shape","id":"b798b046-f929-4909-a836-5f798d360ff5","elementConfiguration":{"binding":"{{Form.Classification.Display}}","visibility":"","type":"text","disableUpdates":false}},{"type":"shape","id":"73d999c3-30d6-4815-9178-e4bc1b50a492","elementConfiguration":{"binding":"{{StringJoin(\", \", Form.SpeakerName,\"SAP\")}}","type":"text","disableUpdates":false}},{"type":"shape","id":"1ae0d7ba-d803-47d6-a92f-c6b9411fc9f0","elementConfiguration":{"binding":"{{FormatDateTime(Form.Date,\"MMMM dd, yyyy\",\"en-US\")}}","type":"text","disableUpdates":false}},{"type":"shape","id":"47c84c94-0c51-4409-929e-f15ca0f76421","elementConfiguration":{"binding":"{{StringJoin(\", \", Form.SpeakerName,\"SAP\")}}","type":"text","disableUpdates":false}},{"type":"shape","id":"ebaf9e08-bece-45c2-a543-72508166c2be","elementConfiguration":{"binding":"{{FormatDateTime(Form.Date,\"MMMM dd, yyyy\",\"en-US\")}}","type":"text","disableUpdates":false}},{"type":"shape","id":"7a28a387-32db-4849-9201-6a61174469d1","elementConfiguration":{"binding":"{{StringJoin(\", \", Form.SpeakerName,\"SAP\")}}","type":"text","disableUpdates":false}},{"type":"shape","id":"0f01bfee-ce03-41cc-abea-b070a2f7b356","elementConfiguration":{"binding":"{{FormatDateTime(Form.Date,\"MMMM dd, yyyy\",\"en-US\")}}","type":"text","disableUpdates":false}},{"type":"shape","id":"5f8b55cd-a22d-4fec-aea9-0183a672ce20","elementConfiguration":{"binding":"{{StringJoin(\", \", Form.SpeakerName,\"SAP\")}}","type":"text","disableUpdates":false}},{"type":"shape","id":"7c99c286-6331-44f9-acc1-8ed27bf5c877","elementConfiguration":{"binding":"{{FormatDateTime(Form.Date,\"MMMM dd, yyyy\",\"en-US\")}}","type":"text","disableUpdates":false}},{"type":"shape","id":"9730fde8-cdcf-421a-97ef-1d5c98c42d83","elementConfiguration":{"binding":"{{StringJoin(\", \", Form.SpeakerName,\"SAP\")}}","type":"text","disableUpdates":false}},{"type":"shape","id":"be291712-808f-4c05-a4b9-16c098d589f0","elementConfiguration":{"binding":"{{FormatDateTime(Form.Date,\"MMMM dd, yyyy\",\"en-US\")}}","type":"text","disableUpdates":false}},{"type":"shape","id":"cb00d6b1-ca10-46e6-abd8-5f3adf2e343e","elementConfiguration":{"binding":"{{StringJoin(\", \", Form.SpeakerName,\"SAP\")}}","type":"text","disableUpdates":false}},{"type":"shape","id":"6a382710-a43a-4adc-ae49-0e561e1b5d14","elementConfiguration":{"binding":"{{FormatDateTime(Form.Date,\"MMMM dd, yyyy\",\"en-US\")}}","type":"text","disableUpdates":false}},{"type":"shape","id":"08f98063-58c1-4020-b28b-315bf93619ea","elementConfiguration":{"binding":"{{Form.SpeakerName}}","type":"text","disableUpdates":false}},{"type":"shape","id":"29692919-c00f-40b6-84c5-5d5a75f76ab7","elementConfiguration":{"binding":"{{Form.Email}}","type":"text","disableUpdates":false}}],"transformationConfigurations":[],"templateName":"SAP Template NEW","templateDescription":"Spelling issue solved","enableDocumentContentUpdater":true,"version":"2.0"}]]></TemplafyTemplateConfiguration>
</file>

<file path=customXml/item26.xml><?xml version="1.0" encoding="utf-8"?>
<TemplafySlideTemplateConfiguration><![CDATA[{"slideVersion":4,"isValidatorEnabled":false,"isLocked":false,"elementsMetadata":[],"slideId":"638315636854156382","enableDocumentContentUpdater":false,"version":"2.0"}]]></TemplafySlideTemplateConfiguration>
</file>

<file path=customXml/item27.xml><?xml version="1.0" encoding="utf-8"?>
<TemplafySlideTemplateConfiguration><![CDATA[{"slideVersion":1,"isValidatorEnabled":false,"isLocked":false,"elementsMetadata":[],"slideId":"637867244053543411","enableDocumentContentUpdater":false,"version":"2.0"}]]></TemplafySlideTemplateConfiguration>
</file>

<file path=customXml/item28.xml><?xml version="1.0" encoding="utf-8"?>
<TemplafySlideTemplateConfiguration><![CDATA[{"slideVersion":4,"isValidatorEnabled":false,"isLocked":false,"elementsMetadata":[],"slideId":"638315636854156382","enableDocumentContentUpdater":false,"version":"2.0"}]]></TemplafySlideTemplateConfiguration>
</file>

<file path=customXml/item29.xml><?xml version="1.0" encoding="utf-8"?>
<TemplafySlideTemplateConfiguration><![CDATA[{"slideVersion":2,"isValidatorEnabled":false,"isLocked":false,"elementsMetadata":[],"slideId":"638373043998113631","enableDocumentContentUpdater":false,"version":"2.0"}]]></TemplafySlideTemplateConfiguration>
</file>

<file path=customXml/item3.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1.xml><?xml version="1.0" encoding="utf-8"?>
<TemplafySlideTemplateConfiguration><![CDATA[{"slideVersion":4,"isValidatorEnabled":false,"isLocked":false,"elementsMetadata":[],"slideId":"638315636853042666","enableDocumentContentUpdater":false,"version":"2.0"}]]></TemplafySlideTemplateConfiguration>
</file>

<file path=customXml/item32.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33.xml><?xml version="1.0" encoding="utf-8"?>
<TemplafySlideTemplateConfiguration><![CDATA[{"slideVersion":2,"isValidatorEnabled":false,"isLocked":false,"elementsMetadata":[],"slideId":"638373043998050859","enableDocumentContentUpdater":false,"version":"2.0"}]]></TemplafySlideTemplateConfiguration>
</file>

<file path=customXml/item34.xml><?xml version="1.0" encoding="utf-8"?>
<TemplafySlideTemplateConfiguration><![CDATA[{"slideVersion":2,"isValidatorEnabled":false,"isLocked":false,"elementsMetadata":[],"slideId":"638373043998151196","enableDocumentContentUpdater":false,"version":"2.0"}]]></TemplafySlideTemplateConfiguration>
</file>

<file path=customXml/item35.xml><?xml version="1.0" encoding="utf-8"?>
<TemplafySlideFormConfiguration><![CDATA[{"formFields":[],"formDataEntries":[]}]]></TemplafySlideForm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39.xml><?xml version="1.0" encoding="utf-8"?>
<TemplafySlideFormConfiguration><![CDATA[{"formFields":[],"formDataEntries":[]}]]></TemplafySlideFormConfiguration>
</file>

<file path=customXml/item4.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0.xml><?xml version="1.0" encoding="utf-8"?>
<TemplafySlideTemplateConfiguration><![CDATA[{"slideVersion":4,"isValidatorEnabled":false,"isLocked":false,"elementsMetadata":[],"slideId":"638315636854156382","enableDocumentContentUpdater":false,"version":"2.0"}]]></TemplafySlideTemplateConfiguration>
</file>

<file path=customXml/item41.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430701","enableDocumentContentUpdater":false,"version":"2.0"}]]></TemplafySlideTemplateConfiguration>
</file>

<file path=customXml/item42.xml><?xml version="1.0" encoding="utf-8"?>
<TemplafySlideTemplateConfiguration><![CDATA[{"slideVersion":2,"isValidatorEnabled":false,"isLocked":false,"elementsMetadata":[],"slideId":"638373043998191062","enableDocumentContentUpdater":false,"version":"2.0"}]]></TemplafySlideTemplate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776925","enableDocumentContentUpdater":false,"version":"2.0"}]]></TemplafySlideTemplateConfiguration>
</file>

<file path=customXml/item46.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2843511","enableDocumentContentUpdater":false,"version":"2.0"}]]></TemplafySlideTemplateConfiguration>
</file>

<file path=customXml/item47.xml><?xml version="1.0" encoding="utf-8"?>
<ct:contentTypeSchema xmlns:ct="http://schemas.microsoft.com/office/2006/metadata/contentType" xmlns:ma="http://schemas.microsoft.com/office/2006/metadata/properties/metaAttributes" ct:_="" ma:_="" ma:contentTypeName="Dokument" ma:contentTypeID="0x010100ECD2AF1DA3F8FF4FA6C2645C43C2AC01" ma:contentTypeVersion="10" ma:contentTypeDescription="Ein neues Dokument erstellen." ma:contentTypeScope="" ma:versionID="8e56428985043cb2aff47f5e3c9c04b8">
  <xsd:schema xmlns:xsd="http://www.w3.org/2001/XMLSchema" xmlns:xs="http://www.w3.org/2001/XMLSchema" xmlns:p="http://schemas.microsoft.com/office/2006/metadata/properties" xmlns:ns2="76410bfa-c465-4282-9437-cb33276387d7" xmlns:ns3="2e4b7787-f155-484c-a6ed-faacc4d6ea8a" targetNamespace="http://schemas.microsoft.com/office/2006/metadata/properties" ma:root="true" ma:fieldsID="dded2dde737277573d4993fc2bab9382" ns2:_="" ns3:_="">
    <xsd:import namespace="76410bfa-c465-4282-9437-cb33276387d7"/>
    <xsd:import namespace="2e4b7787-f155-484c-a6ed-faacc4d6ea8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10bfa-c465-4282-9437-cb3327638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4debb949-be09-4628-8a5e-97009452ba1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4b7787-f155-484c-a6ed-faacc4d6ea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9d2eb87-e541-4894-8197-ae1b607c058e}" ma:internalName="TaxCatchAll" ma:showField="CatchAllData" ma:web="2e4b7787-f155-484c-a6ed-faacc4d6ea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8.xml><?xml version="1.0" encoding="utf-8"?>
<TemplafySlideTemplateConfiguration><![CDATA[{"slideVersion":4,"isValidatorEnabled":false,"isLocked":false,"elementsMetadata":[],"slideId":"638315636853042666","enableDocumentContentUpdater":false,"version":"2.0"}]]></TemplafySlideTemplateConfiguration>
</file>

<file path=customXml/item49.xml><?xml version="1.0" encoding="utf-8"?>
<p:properties xmlns:p="http://schemas.microsoft.com/office/2006/metadata/properties" xmlns:xsi="http://www.w3.org/2001/XMLSchema-instance" xmlns:pc="http://schemas.microsoft.com/office/infopath/2007/PartnerControls">
  <documentManagement>
    <TaxCatchAll xmlns="2e4b7787-f155-484c-a6ed-faacc4d6ea8a" xsi:nil="true"/>
    <lcf76f155ced4ddcb4097134ff3c332f xmlns="76410bfa-c465-4282-9437-cb33276387d7">
      <Terms xmlns="http://schemas.microsoft.com/office/infopath/2007/PartnerControls"/>
    </lcf76f155ced4ddcb4097134ff3c332f>
  </documentManagement>
</p:properties>
</file>

<file path=customXml/item5.xml><?xml version="1.0" encoding="utf-8"?>
<TemplafySlideTemplateConfiguration><![CDATA[{"slideVersion":4,"isValidatorEnabled":false,"isLocked":false,"elementsMetadata":[],"slideId":"638315636854156382","enableDocumentContentUpdater":false,"version":"2.0"}]]></TemplafySlideTemplateConfiguration>
</file>

<file path=customXml/item50.xml><?xml version="1.0" encoding="utf-8"?>
<TemplafySlideTemplateConfiguration><![CDATA[{"slideVersion":4,"isValidatorEnabled":false,"isLocked":false,"elementsMetadata":[],"slideId":"638315636853042666","enableDocumentContentUpdater":false,"version":"2.0"}]]></TemplafySlideTemplateConfiguration>
</file>

<file path=customXml/item51.xml><?xml version="1.0" encoding="utf-8"?>
<TemplafySlideFormConfiguration><![CDATA[{"formFields":[],"formDataEntries":[]}]]></TemplafySlideFormConfiguration>
</file>

<file path=customXml/item6.xml><?xml version="1.0" encoding="utf-8"?>
<TemplafySlideTemplateConfiguration><![CDATA[{"slideVersion":2,"isValidatorEnabled":false,"isLocked":false,"elementsMetadata":[],"slideId":"638373043998050859","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slideVersion":4,"isValidatorEnabled":false,"isLocked":false,"elementsMetadata":[],"slideId":"638315636853042666","enableDocumentContentUpdater":false,"version":"2.0"}]]></TemplafySlideTemplateConfiguration>
</file>

<file path=customXml/item9.xml><?xml version="1.0" encoding="utf-8"?>
<TemplafySlideTemplateConfiguration><![CDATA[{"slideVersion":2,"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Props1.xml><?xml version="1.0" encoding="utf-8"?>
<ds:datastoreItem xmlns:ds="http://schemas.openxmlformats.org/officeDocument/2006/customXml" ds:itemID="{98EE72E3-5203-4D39-A131-E9DD8A16EDC4}">
  <ds:schemaRefs/>
</ds:datastoreItem>
</file>

<file path=customXml/itemProps10.xml><?xml version="1.0" encoding="utf-8"?>
<ds:datastoreItem xmlns:ds="http://schemas.openxmlformats.org/officeDocument/2006/customXml" ds:itemID="{94BD63B6-D21E-46C4-815E-3B295ED02A9C}">
  <ds:schemaRefs/>
</ds:datastoreItem>
</file>

<file path=customXml/itemProps11.xml><?xml version="1.0" encoding="utf-8"?>
<ds:datastoreItem xmlns:ds="http://schemas.openxmlformats.org/officeDocument/2006/customXml" ds:itemID="{034DD3E1-2858-4C70-BC3A-61FB10763B47}">
  <ds:schemaRefs/>
</ds:datastoreItem>
</file>

<file path=customXml/itemProps12.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13.xml><?xml version="1.0" encoding="utf-8"?>
<ds:datastoreItem xmlns:ds="http://schemas.openxmlformats.org/officeDocument/2006/customXml" ds:itemID="{48165AA7-FCD4-45E8-91C2-2E8798F7DA7A}">
  <ds:schemaRefs/>
</ds:datastoreItem>
</file>

<file path=customXml/itemProps14.xml><?xml version="1.0" encoding="utf-8"?>
<ds:datastoreItem xmlns:ds="http://schemas.openxmlformats.org/officeDocument/2006/customXml" ds:itemID="{184FDB0B-513E-4564-83E3-30C2A67FA462}">
  <ds:schemaRefs/>
</ds:datastoreItem>
</file>

<file path=customXml/itemProps15.xml><?xml version="1.0" encoding="utf-8"?>
<ds:datastoreItem xmlns:ds="http://schemas.openxmlformats.org/officeDocument/2006/customXml" ds:itemID="{8682EF99-B695-484F-8968-7BFAD92BDA4A}">
  <ds:schemaRefs/>
</ds:datastoreItem>
</file>

<file path=customXml/itemProps16.xml><?xml version="1.0" encoding="utf-8"?>
<ds:datastoreItem xmlns:ds="http://schemas.openxmlformats.org/officeDocument/2006/customXml" ds:itemID="{D06AD3D1-7FF9-4536-AD60-A17870F90738}">
  <ds:schemaRefs/>
</ds:datastoreItem>
</file>

<file path=customXml/itemProps17.xml><?xml version="1.0" encoding="utf-8"?>
<ds:datastoreItem xmlns:ds="http://schemas.openxmlformats.org/officeDocument/2006/customXml" ds:itemID="{AAC26940-3727-49BE-BF62-CC423E64F2BD}">
  <ds:schemaRefs/>
</ds:datastoreItem>
</file>

<file path=customXml/itemProps18.xml><?xml version="1.0" encoding="utf-8"?>
<ds:datastoreItem xmlns:ds="http://schemas.openxmlformats.org/officeDocument/2006/customXml" ds:itemID="{623ADE88-F3B4-4857-B6D7-BE3D1452E97C}">
  <ds:schemaRefs/>
</ds:datastoreItem>
</file>

<file path=customXml/itemProps19.xml><?xml version="1.0" encoding="utf-8"?>
<ds:datastoreItem xmlns:ds="http://schemas.openxmlformats.org/officeDocument/2006/customXml" ds:itemID="{0EB72D09-D760-46C8-9C95-8879EFB64293}">
  <ds:schemaRefs/>
</ds:datastoreItem>
</file>

<file path=customXml/itemProps2.xml><?xml version="1.0" encoding="utf-8"?>
<ds:datastoreItem xmlns:ds="http://schemas.openxmlformats.org/officeDocument/2006/customXml" ds:itemID="{EA0EFD7B-A280-45FB-AEC3-B703B28210D9}">
  <ds:schemaRefs/>
</ds:datastoreItem>
</file>

<file path=customXml/itemProps20.xml><?xml version="1.0" encoding="utf-8"?>
<ds:datastoreItem xmlns:ds="http://schemas.openxmlformats.org/officeDocument/2006/customXml" ds:itemID="{935C6D9D-19E8-4631-A552-DB446407D2A4}">
  <ds:schemaRefs/>
</ds:datastoreItem>
</file>

<file path=customXml/itemProps21.xml><?xml version="1.0" encoding="utf-8"?>
<ds:datastoreItem xmlns:ds="http://schemas.openxmlformats.org/officeDocument/2006/customXml" ds:itemID="{92690E7D-4F9F-4E12-9E4E-BAEC04D5A7CC}">
  <ds:schemaRefs/>
</ds:datastoreItem>
</file>

<file path=customXml/itemProps22.xml><?xml version="1.0" encoding="utf-8"?>
<ds:datastoreItem xmlns:ds="http://schemas.openxmlformats.org/officeDocument/2006/customXml" ds:itemID="{6638E641-279B-4AC7-A8AC-1DE9953C4894}">
  <ds:schemaRefs/>
</ds:datastoreItem>
</file>

<file path=customXml/itemProps23.xml><?xml version="1.0" encoding="utf-8"?>
<ds:datastoreItem xmlns:ds="http://schemas.openxmlformats.org/officeDocument/2006/customXml" ds:itemID="{3B62FFE9-ED73-4F57-B7FD-1898883AC30C}">
  <ds:schemaRefs/>
</ds:datastoreItem>
</file>

<file path=customXml/itemProps24.xml><?xml version="1.0" encoding="utf-8"?>
<ds:datastoreItem xmlns:ds="http://schemas.openxmlformats.org/officeDocument/2006/customXml" ds:itemID="{D505826A-FD3B-4FAC-9437-FB4AF9F44F1B}">
  <ds:schemaRefs/>
</ds:datastoreItem>
</file>

<file path=customXml/itemProps25.xml><?xml version="1.0" encoding="utf-8"?>
<ds:datastoreItem xmlns:ds="http://schemas.openxmlformats.org/officeDocument/2006/customXml" ds:itemID="{626BBCBB-1894-4E66-BA48-9E91CE3ACBA0}">
  <ds:schemaRefs/>
</ds:datastoreItem>
</file>

<file path=customXml/itemProps26.xml><?xml version="1.0" encoding="utf-8"?>
<ds:datastoreItem xmlns:ds="http://schemas.openxmlformats.org/officeDocument/2006/customXml" ds:itemID="{E1E2A403-39C3-4FC8-B841-41CD46EF1E37}">
  <ds:schemaRefs/>
</ds:datastoreItem>
</file>

<file path=customXml/itemProps27.xml><?xml version="1.0" encoding="utf-8"?>
<ds:datastoreItem xmlns:ds="http://schemas.openxmlformats.org/officeDocument/2006/customXml" ds:itemID="{BC5403FE-05BE-4E98-A273-D056C995E512}">
  <ds:schemaRefs/>
</ds:datastoreItem>
</file>

<file path=customXml/itemProps28.xml><?xml version="1.0" encoding="utf-8"?>
<ds:datastoreItem xmlns:ds="http://schemas.openxmlformats.org/officeDocument/2006/customXml" ds:itemID="{C678E196-AE5D-4AB0-B3F0-0D6FA84851B1}">
  <ds:schemaRefs/>
</ds:datastoreItem>
</file>

<file path=customXml/itemProps29.xml><?xml version="1.0" encoding="utf-8"?>
<ds:datastoreItem xmlns:ds="http://schemas.openxmlformats.org/officeDocument/2006/customXml" ds:itemID="{47E12206-FAC1-4A56-A73A-215CACDF02F8}">
  <ds:schemaRefs/>
</ds:datastoreItem>
</file>

<file path=customXml/itemProps3.xml><?xml version="1.0" encoding="utf-8"?>
<ds:datastoreItem xmlns:ds="http://schemas.openxmlformats.org/officeDocument/2006/customXml" ds:itemID="{538A7E94-9A75-944B-BB53-DAD192A33F0F}">
  <ds:schemaRefs/>
</ds:datastoreItem>
</file>

<file path=customXml/itemProps30.xml><?xml version="1.0" encoding="utf-8"?>
<ds:datastoreItem xmlns:ds="http://schemas.openxmlformats.org/officeDocument/2006/customXml" ds:itemID="{118DC9FA-6E7A-134A-A4CB-DB7E25529BCD}">
  <ds:schemaRefs/>
</ds:datastoreItem>
</file>

<file path=customXml/itemProps31.xml><?xml version="1.0" encoding="utf-8"?>
<ds:datastoreItem xmlns:ds="http://schemas.openxmlformats.org/officeDocument/2006/customXml" ds:itemID="{475AB362-7E2C-4295-A530-7B284247BFC6}">
  <ds:schemaRefs/>
</ds:datastoreItem>
</file>

<file path=customXml/itemProps32.xml><?xml version="1.0" encoding="utf-8"?>
<ds:datastoreItem xmlns:ds="http://schemas.openxmlformats.org/officeDocument/2006/customXml" ds:itemID="{53C0C564-F4BC-4CB7-A46F-7534E4F7BCE1}">
  <ds:schemaRefs/>
</ds:datastoreItem>
</file>

<file path=customXml/itemProps33.xml><?xml version="1.0" encoding="utf-8"?>
<ds:datastoreItem xmlns:ds="http://schemas.openxmlformats.org/officeDocument/2006/customXml" ds:itemID="{793AE96A-37D6-4971-A9A5-8EA3F2B2BD93}">
  <ds:schemaRefs/>
</ds:datastoreItem>
</file>

<file path=customXml/itemProps34.xml><?xml version="1.0" encoding="utf-8"?>
<ds:datastoreItem xmlns:ds="http://schemas.openxmlformats.org/officeDocument/2006/customXml" ds:itemID="{9C3868F0-118E-4F4D-99EC-60B093FD1E00}">
  <ds:schemaRefs/>
</ds:datastoreItem>
</file>

<file path=customXml/itemProps35.xml><?xml version="1.0" encoding="utf-8"?>
<ds:datastoreItem xmlns:ds="http://schemas.openxmlformats.org/officeDocument/2006/customXml" ds:itemID="{C2AC838F-3192-4042-96C7-6D081523F5A1}">
  <ds:schemaRefs/>
</ds:datastoreItem>
</file>

<file path=customXml/itemProps36.xml><?xml version="1.0" encoding="utf-8"?>
<ds:datastoreItem xmlns:ds="http://schemas.openxmlformats.org/officeDocument/2006/customXml" ds:itemID="{15EC2061-1F13-4DC6-B9C2-B24883664942}">
  <ds:schemaRefs/>
</ds:datastoreItem>
</file>

<file path=customXml/itemProps37.xml><?xml version="1.0" encoding="utf-8"?>
<ds:datastoreItem xmlns:ds="http://schemas.openxmlformats.org/officeDocument/2006/customXml" ds:itemID="{7A474179-D5E4-437A-B70C-9919B93CA02F}">
  <ds:schemaRefs/>
</ds:datastoreItem>
</file>

<file path=customXml/itemProps38.xml><?xml version="1.0" encoding="utf-8"?>
<ds:datastoreItem xmlns:ds="http://schemas.openxmlformats.org/officeDocument/2006/customXml" ds:itemID="{CC49FFC8-2FF3-4057-96F0-3BCD1A4F0351}">
  <ds:schemaRefs/>
</ds:datastoreItem>
</file>

<file path=customXml/itemProps39.xml><?xml version="1.0" encoding="utf-8"?>
<ds:datastoreItem xmlns:ds="http://schemas.openxmlformats.org/officeDocument/2006/customXml" ds:itemID="{1EC17535-8D28-4922-81E0-ECD6F4BFCC98}">
  <ds:schemaRefs/>
</ds:datastoreItem>
</file>

<file path=customXml/itemProps4.xml><?xml version="1.0" encoding="utf-8"?>
<ds:datastoreItem xmlns:ds="http://schemas.openxmlformats.org/officeDocument/2006/customXml" ds:itemID="{DF651907-6C10-4999-BBD5-6BFD17F65FC4}">
  <ds:schemaRefs/>
</ds:datastoreItem>
</file>

<file path=customXml/itemProps40.xml><?xml version="1.0" encoding="utf-8"?>
<ds:datastoreItem xmlns:ds="http://schemas.openxmlformats.org/officeDocument/2006/customXml" ds:itemID="{23FA4614-B246-4ED4-A39C-2DEE012E4E41}">
  <ds:schemaRefs/>
</ds:datastoreItem>
</file>

<file path=customXml/itemProps41.xml><?xml version="1.0" encoding="utf-8"?>
<ds:datastoreItem xmlns:ds="http://schemas.openxmlformats.org/officeDocument/2006/customXml" ds:itemID="{FB378D73-682D-4B5C-B045-A467836EDC7E}">
  <ds:schemaRefs/>
</ds:datastoreItem>
</file>

<file path=customXml/itemProps42.xml><?xml version="1.0" encoding="utf-8"?>
<ds:datastoreItem xmlns:ds="http://schemas.openxmlformats.org/officeDocument/2006/customXml" ds:itemID="{2346D7F6-9001-43CB-BA55-744322C55379}">
  <ds:schemaRefs/>
</ds:datastoreItem>
</file>

<file path=customXml/itemProps43.xml><?xml version="1.0" encoding="utf-8"?>
<ds:datastoreItem xmlns:ds="http://schemas.openxmlformats.org/officeDocument/2006/customXml" ds:itemID="{7EE19871-72D1-4A79-AC35-D7B297494921}">
  <ds:schemaRefs/>
</ds:datastoreItem>
</file>

<file path=customXml/itemProps44.xml><?xml version="1.0" encoding="utf-8"?>
<ds:datastoreItem xmlns:ds="http://schemas.openxmlformats.org/officeDocument/2006/customXml" ds:itemID="{12438972-7D18-4481-AF51-532E67A63E1E}">
  <ds:schemaRefs/>
</ds:datastoreItem>
</file>

<file path=customXml/itemProps45.xml><?xml version="1.0" encoding="utf-8"?>
<ds:datastoreItem xmlns:ds="http://schemas.openxmlformats.org/officeDocument/2006/customXml" ds:itemID="{BE35CB75-D316-A442-AF6F-E30B686305AD}">
  <ds:schemaRefs/>
</ds:datastoreItem>
</file>

<file path=customXml/itemProps46.xml><?xml version="1.0" encoding="utf-8"?>
<ds:datastoreItem xmlns:ds="http://schemas.openxmlformats.org/officeDocument/2006/customXml" ds:itemID="{CD69D8E4-3079-0947-A87B-18CDAB899542}">
  <ds:schemaRefs/>
</ds:datastoreItem>
</file>

<file path=customXml/itemProps47.xml><?xml version="1.0" encoding="utf-8"?>
<ds:datastoreItem xmlns:ds="http://schemas.openxmlformats.org/officeDocument/2006/customXml" ds:itemID="{A8C86873-C3B0-400F-A41A-700C85C5A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410bfa-c465-4282-9437-cb33276387d7"/>
    <ds:schemaRef ds:uri="2e4b7787-f155-484c-a6ed-faacc4d6ea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8.xml><?xml version="1.0" encoding="utf-8"?>
<ds:datastoreItem xmlns:ds="http://schemas.openxmlformats.org/officeDocument/2006/customXml" ds:itemID="{F7A688B5-CEE6-4F55-B294-130EFC5DB101}">
  <ds:schemaRefs/>
</ds:datastoreItem>
</file>

<file path=customXml/itemProps49.xml><?xml version="1.0" encoding="utf-8"?>
<ds:datastoreItem xmlns:ds="http://schemas.openxmlformats.org/officeDocument/2006/customXml" ds:itemID="{C1422F45-04DB-421D-8796-270006657806}">
  <ds:schemaRefs>
    <ds:schemaRef ds:uri="2e4b7787-f155-484c-a6ed-faacc4d6ea8a"/>
    <ds:schemaRef ds:uri="4e4a4d3c-2afd-4247-8751-c4aa3e783882"/>
    <ds:schemaRef ds:uri="76410bfa-c465-4282-9437-cb33276387d7"/>
    <ds:schemaRef ds:uri="b2cc75a2-af32-44d4-85b5-598d8dc2ad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C1482805-839B-4917-A350-F14E209159EB}">
  <ds:schemaRefs/>
</ds:datastoreItem>
</file>

<file path=customXml/itemProps50.xml><?xml version="1.0" encoding="utf-8"?>
<ds:datastoreItem xmlns:ds="http://schemas.openxmlformats.org/officeDocument/2006/customXml" ds:itemID="{20AD2FA6-6913-43F7-86DE-8AF1545F9903}">
  <ds:schemaRefs/>
</ds:datastoreItem>
</file>

<file path=customXml/itemProps51.xml><?xml version="1.0" encoding="utf-8"?>
<ds:datastoreItem xmlns:ds="http://schemas.openxmlformats.org/officeDocument/2006/customXml" ds:itemID="{80CA586D-470E-4965-80EA-F4B9D379E73D}">
  <ds:schemaRefs/>
</ds:datastoreItem>
</file>

<file path=customXml/itemProps6.xml><?xml version="1.0" encoding="utf-8"?>
<ds:datastoreItem xmlns:ds="http://schemas.openxmlformats.org/officeDocument/2006/customXml" ds:itemID="{63FADC4E-365B-4554-8E59-C720A861D5CA}">
  <ds:schemaRefs/>
</ds:datastoreItem>
</file>

<file path=customXml/itemProps7.xml><?xml version="1.0" encoding="utf-8"?>
<ds:datastoreItem xmlns:ds="http://schemas.openxmlformats.org/officeDocument/2006/customXml" ds:itemID="{5205743A-69BE-4083-94E2-7B4DB7E3C7E8}">
  <ds:schemaRefs/>
</ds:datastoreItem>
</file>

<file path=customXml/itemProps8.xml><?xml version="1.0" encoding="utf-8"?>
<ds:datastoreItem xmlns:ds="http://schemas.openxmlformats.org/officeDocument/2006/customXml" ds:itemID="{D6037B97-3794-423A-803A-B94879121092}">
  <ds:schemaRefs/>
</ds:datastoreItem>
</file>

<file path=customXml/itemProps9.xml><?xml version="1.0" encoding="utf-8"?>
<ds:datastoreItem xmlns:ds="http://schemas.openxmlformats.org/officeDocument/2006/customXml" ds:itemID="{DAADC99B-5A83-456A-8BCD-707A23A28C1F}">
  <ds:schemaRefs/>
</ds:datastoreItem>
</file>

<file path=docMetadata/LabelInfo.xml><?xml version="1.0" encoding="utf-8"?>
<clbl:labelList xmlns:clbl="http://schemas.microsoft.com/office/2020/mipLabelMetadata">
  <clbl:label id="{13dc8f2d-4ea5-4903-ba8c-0b5d92999a2e}" enabled="1" method="Privileged" siteId="{42f7676c-f455-423c-82f6-dc2d99791af7}"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IDM Branding Updates 2024 01 31 for IDM All as templates</Template>
  <TotalTime>0</TotalTime>
  <Words>3985</Words>
  <Application>Microsoft Macintosh PowerPoint</Application>
  <PresentationFormat>Benutzerdefiniert</PresentationFormat>
  <Paragraphs>1061</Paragraphs>
  <Slides>26</Slides>
  <Notes>26</Notes>
  <HiddenSlides>0</HiddenSlides>
  <MMClips>0</MMClips>
  <ScaleCrop>false</ScaleCrop>
  <HeadingPairs>
    <vt:vector size="8" baseType="variant">
      <vt:variant>
        <vt:lpstr>Verwendete Schriftarten</vt:lpstr>
      </vt:variant>
      <vt:variant>
        <vt:i4>17</vt:i4>
      </vt:variant>
      <vt:variant>
        <vt:lpstr>Design</vt:lpstr>
      </vt:variant>
      <vt:variant>
        <vt:i4>4</vt:i4>
      </vt:variant>
      <vt:variant>
        <vt:lpstr>Eingebettete OLE-Server</vt:lpstr>
      </vt:variant>
      <vt:variant>
        <vt:i4>1</vt:i4>
      </vt:variant>
      <vt:variant>
        <vt:lpstr>Folientitel</vt:lpstr>
      </vt:variant>
      <vt:variant>
        <vt:i4>26</vt:i4>
      </vt:variant>
    </vt:vector>
  </HeadingPairs>
  <TitlesOfParts>
    <vt:vector size="48" baseType="lpstr">
      <vt:lpstr>Wingdings</vt:lpstr>
      <vt:lpstr>Courier New</vt:lpstr>
      <vt:lpstr>Symbol</vt:lpstr>
      <vt:lpstr>72 Bold</vt:lpstr>
      <vt:lpstr>72 Brand Medium</vt:lpstr>
      <vt:lpstr>Wingdings</vt:lpstr>
      <vt:lpstr>Arial</vt:lpstr>
      <vt:lpstr>72 Brand</vt:lpstr>
      <vt:lpstr>Graphik Light</vt:lpstr>
      <vt:lpstr>Arial,Sans-Serif</vt:lpstr>
      <vt:lpstr>Roboto</vt:lpstr>
      <vt:lpstr>Arial Unicode MS</vt:lpstr>
      <vt:lpstr>Consolas</vt:lpstr>
      <vt:lpstr>Wingdings,Sans-Serif</vt:lpstr>
      <vt:lpstr>Segoe UI</vt:lpstr>
      <vt:lpstr>Calibri</vt:lpstr>
      <vt:lpstr>72</vt:lpstr>
      <vt:lpstr>SAP Template 2024</vt:lpstr>
      <vt:lpstr>White Template</vt:lpstr>
      <vt:lpstr>1_White Template</vt:lpstr>
      <vt:lpstr>1_SAP Template 2024</vt:lpstr>
      <vt:lpstr>think-cell Slide</vt:lpstr>
      <vt:lpstr>1. CDP Business Use Cases | Overview of scheduled Use Case Adoption per LoB</vt:lpstr>
      <vt:lpstr>1. CDP Business Use Cases | Marketing – Status &amp; Use Case Heatmap</vt:lpstr>
      <vt:lpstr>1. CDP Business Use Cases | Marketing – Status &amp; Use Case Heatmap</vt:lpstr>
      <vt:lpstr>1. CDP Business Use Cases | Sales &amp; Post Sales – Status &amp; Use Case Heatmap</vt:lpstr>
      <vt:lpstr>1. CDP Business Use Cases | Sales &amp; Post Sales – Status &amp; Use Case Heatmap</vt:lpstr>
      <vt:lpstr>1. CDP Business Use Cases | Compliance – Status &amp; Use Case Heatmap</vt:lpstr>
      <vt:lpstr>2. CDP Foundational Use Cases | Status Update (1/2)</vt:lpstr>
      <vt:lpstr>2. CDP Foundational Use Cases | Status Update (2/2)</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röge, Anne</dc:creator>
  <cp:keywords>2024/16:9/white</cp:keywords>
  <dc:description/>
  <cp:lastModifiedBy>Schnepf, Patrick</cp:lastModifiedBy>
  <cp:revision>21</cp:revision>
  <dcterms:created xsi:type="dcterms:W3CDTF">2024-09-16T15:04:13Z</dcterms:created>
  <dcterms:modified xsi:type="dcterms:W3CDTF">2026-01-16T11:45: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D2AF1DA3F8FF4FA6C2645C43C2AC01</vt:lpwstr>
  </property>
  <property fmtid="{D5CDD505-2E9C-101B-9397-08002B2CF9AE}" pid="4" name="TemplafyTimeStamp">
    <vt:lpwstr>2023-11-20T09:38:05</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lassificationContentMarkingFooterLocations">
    <vt:lpwstr>SAP Template 2024:142\White Template:8\1_White Template:8\1_SAP Template 2024:142</vt:lpwstr>
  </property>
  <property fmtid="{D5CDD505-2E9C-101B-9397-08002B2CF9AE}" pid="18" name="ClassificationContentMarkingFooterText">
    <vt:lpwstr>INTERNAL | SAP AND EXTERNAL PARTIES UNDER NDA USE ONLY</vt:lpwstr>
  </property>
</Properties>
</file>